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7" r:id="rId5"/>
  </p:sldMasterIdLst>
  <p:notesMasterIdLst>
    <p:notesMasterId r:id="rId21"/>
  </p:notesMasterIdLst>
  <p:sldIdLst>
    <p:sldId id="464" r:id="rId6"/>
    <p:sldId id="466" r:id="rId7"/>
    <p:sldId id="443" r:id="rId8"/>
    <p:sldId id="455" r:id="rId9"/>
    <p:sldId id="437" r:id="rId10"/>
    <p:sldId id="457" r:id="rId11"/>
    <p:sldId id="458" r:id="rId12"/>
    <p:sldId id="456" r:id="rId13"/>
    <p:sldId id="459" r:id="rId14"/>
    <p:sldId id="451" r:id="rId15"/>
    <p:sldId id="460" r:id="rId16"/>
    <p:sldId id="461" r:id="rId17"/>
    <p:sldId id="462" r:id="rId18"/>
    <p:sldId id="463" r:id="rId19"/>
    <p:sldId id="467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ohamad AlSharif" initials="MA" lastIdx="5" clrIdx="0">
    <p:extLst>
      <p:ext uri="{19B8F6BF-5375-455C-9EA6-DF929625EA0E}">
        <p15:presenceInfo xmlns:p15="http://schemas.microsoft.com/office/powerpoint/2012/main" userId="S-1-5-21-3279393441-2328298323-422938223-532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05E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19" autoAdjust="0"/>
    <p:restoredTop sz="94194" autoAdjust="0"/>
  </p:normalViewPr>
  <p:slideViewPr>
    <p:cSldViewPr snapToGrid="0">
      <p:cViewPr>
        <p:scale>
          <a:sx n="84" d="100"/>
          <a:sy n="84" d="100"/>
        </p:scale>
        <p:origin x="768" y="27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FE6B3FE-F7F8-4A4A-AAB8-1323E5AE6276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D707CB2-C68E-4B58-9C3F-9373068DBE1C}">
      <dgm:prSet phldrT="[Text]"/>
      <dgm:spPr/>
      <dgm:t>
        <a:bodyPr/>
        <a:lstStyle/>
        <a:p>
          <a:r>
            <a:rPr lang="en-US" dirty="0" smtClean="0">
              <a:solidFill>
                <a:srgbClr val="C00000"/>
              </a:solidFill>
              <a:ea typeface="+mj-ea"/>
              <a:cs typeface="Calibri" pitchFamily="34" charset="0"/>
            </a:rPr>
            <a:t>Outline</a:t>
          </a:r>
          <a:endParaRPr lang="en-US" dirty="0">
            <a:solidFill>
              <a:srgbClr val="C00000"/>
            </a:solidFill>
            <a:ea typeface="+mj-ea"/>
            <a:cs typeface="Calibri" pitchFamily="34" charset="0"/>
          </a:endParaRPr>
        </a:p>
      </dgm:t>
    </dgm:pt>
    <dgm:pt modelId="{B0C5B805-1852-485B-86A2-E359D9F4B25B}" type="parTrans" cxnId="{08CA8DC3-7349-4ED3-AF91-2FAD154A19F5}">
      <dgm:prSet/>
      <dgm:spPr/>
      <dgm:t>
        <a:bodyPr/>
        <a:lstStyle/>
        <a:p>
          <a:endParaRPr lang="en-US"/>
        </a:p>
      </dgm:t>
    </dgm:pt>
    <dgm:pt modelId="{6528AE05-2EA4-4B2C-8724-BD2494C831AC}" type="sibTrans" cxnId="{08CA8DC3-7349-4ED3-AF91-2FAD154A19F5}">
      <dgm:prSet/>
      <dgm:spPr/>
      <dgm:t>
        <a:bodyPr/>
        <a:lstStyle/>
        <a:p>
          <a:endParaRPr lang="en-US"/>
        </a:p>
      </dgm:t>
    </dgm:pt>
    <dgm:pt modelId="{11180F5F-30E1-44CA-B894-D19A05275B88}">
      <dgm:prSet phldrT="[Text]"/>
      <dgm:spPr/>
      <dgm:t>
        <a:bodyPr/>
        <a:lstStyle/>
        <a:p>
          <a:r>
            <a:rPr lang="en-US" dirty="0" smtClean="0">
              <a:solidFill>
                <a:srgbClr val="C00000"/>
              </a:solidFill>
              <a:ea typeface="+mj-ea"/>
              <a:cs typeface="Calibri" pitchFamily="34" charset="0"/>
            </a:rPr>
            <a:t>Introduction</a:t>
          </a:r>
          <a:endParaRPr lang="en-US" dirty="0">
            <a:solidFill>
              <a:srgbClr val="C00000"/>
            </a:solidFill>
            <a:ea typeface="+mj-ea"/>
            <a:cs typeface="Calibri" pitchFamily="34" charset="0"/>
          </a:endParaRPr>
        </a:p>
      </dgm:t>
    </dgm:pt>
    <dgm:pt modelId="{D33A94B5-CDC8-4B79-9397-AAE74F13B81F}" type="parTrans" cxnId="{99ADCC2D-4991-4E4C-9D93-790274875657}">
      <dgm:prSet/>
      <dgm:spPr/>
      <dgm:t>
        <a:bodyPr/>
        <a:lstStyle/>
        <a:p>
          <a:endParaRPr lang="en-US"/>
        </a:p>
      </dgm:t>
    </dgm:pt>
    <dgm:pt modelId="{C22E6C00-87F6-44BB-B4B7-E3955BDE048F}" type="sibTrans" cxnId="{99ADCC2D-4991-4E4C-9D93-790274875657}">
      <dgm:prSet/>
      <dgm:spPr/>
      <dgm:t>
        <a:bodyPr/>
        <a:lstStyle/>
        <a:p>
          <a:endParaRPr lang="en-US"/>
        </a:p>
      </dgm:t>
    </dgm:pt>
    <dgm:pt modelId="{67DDCDD5-BC37-4A03-BCDA-67CCE12D7910}">
      <dgm:prSet phldrT="[Text]"/>
      <dgm:spPr/>
      <dgm:t>
        <a:bodyPr/>
        <a:lstStyle/>
        <a:p>
          <a:r>
            <a:rPr lang="en-US" dirty="0" smtClean="0">
              <a:solidFill>
                <a:srgbClr val="C00000"/>
              </a:solidFill>
              <a:ea typeface="+mj-ea"/>
              <a:cs typeface="Calibri" pitchFamily="34" charset="0"/>
            </a:rPr>
            <a:t>Research Problem  </a:t>
          </a:r>
          <a:endParaRPr lang="en-US" dirty="0"/>
        </a:p>
      </dgm:t>
    </dgm:pt>
    <dgm:pt modelId="{9515554B-E759-4E29-B841-311095169386}" type="parTrans" cxnId="{92076BEC-DA9D-4097-86E2-ECF76088CF03}">
      <dgm:prSet/>
      <dgm:spPr/>
      <dgm:t>
        <a:bodyPr/>
        <a:lstStyle/>
        <a:p>
          <a:endParaRPr lang="en-US"/>
        </a:p>
      </dgm:t>
    </dgm:pt>
    <dgm:pt modelId="{2A68034B-F76C-48B2-8D4F-465AD906D98D}" type="sibTrans" cxnId="{92076BEC-DA9D-4097-86E2-ECF76088CF03}">
      <dgm:prSet/>
      <dgm:spPr/>
      <dgm:t>
        <a:bodyPr/>
        <a:lstStyle/>
        <a:p>
          <a:endParaRPr lang="en-US"/>
        </a:p>
      </dgm:t>
    </dgm:pt>
    <dgm:pt modelId="{8F4365F3-8E56-4299-B55D-111A95DC7E38}">
      <dgm:prSet phldrT="[Text]"/>
      <dgm:spPr/>
      <dgm:t>
        <a:bodyPr/>
        <a:lstStyle/>
        <a:p>
          <a:r>
            <a:rPr lang="en-US" dirty="0" smtClean="0">
              <a:solidFill>
                <a:srgbClr val="C00000"/>
              </a:solidFill>
              <a:ea typeface="+mj-ea"/>
              <a:cs typeface="Calibri" pitchFamily="34" charset="0"/>
            </a:rPr>
            <a:t>Research Questions  </a:t>
          </a:r>
        </a:p>
      </dgm:t>
    </dgm:pt>
    <dgm:pt modelId="{AB19ADA4-4297-4A35-8E0C-429721CD397F}" type="parTrans" cxnId="{851AA4D6-452C-44AA-949A-3769CEC64A8D}">
      <dgm:prSet/>
      <dgm:spPr/>
      <dgm:t>
        <a:bodyPr/>
        <a:lstStyle/>
        <a:p>
          <a:endParaRPr lang="en-US"/>
        </a:p>
      </dgm:t>
    </dgm:pt>
    <dgm:pt modelId="{37AE70FB-4414-4CF3-9DE3-696B33C648AB}" type="sibTrans" cxnId="{851AA4D6-452C-44AA-949A-3769CEC64A8D}">
      <dgm:prSet/>
      <dgm:spPr/>
      <dgm:t>
        <a:bodyPr/>
        <a:lstStyle/>
        <a:p>
          <a:endParaRPr lang="en-US"/>
        </a:p>
      </dgm:t>
    </dgm:pt>
    <dgm:pt modelId="{AB7A522B-1F90-4749-AA7E-EBD2E54568EB}">
      <dgm:prSet phldrT="[Text]"/>
      <dgm:spPr/>
      <dgm:t>
        <a:bodyPr/>
        <a:lstStyle/>
        <a:p>
          <a:r>
            <a:rPr lang="en-US" dirty="0" smtClean="0">
              <a:solidFill>
                <a:srgbClr val="C00000"/>
              </a:solidFill>
              <a:ea typeface="+mj-ea"/>
              <a:cs typeface="Calibri" pitchFamily="34" charset="0"/>
            </a:rPr>
            <a:t>Literature Review </a:t>
          </a:r>
          <a:endParaRPr lang="en-US" dirty="0"/>
        </a:p>
      </dgm:t>
    </dgm:pt>
    <dgm:pt modelId="{9DF8BEA5-21B2-4306-A4AE-8F55B9EE18A3}" type="parTrans" cxnId="{FD70F2E1-D587-4613-A078-BED94C252A4E}">
      <dgm:prSet/>
      <dgm:spPr/>
      <dgm:t>
        <a:bodyPr/>
        <a:lstStyle/>
        <a:p>
          <a:endParaRPr lang="en-US"/>
        </a:p>
      </dgm:t>
    </dgm:pt>
    <dgm:pt modelId="{15BF9043-9F9F-47D9-B44F-994FD6A5A31A}" type="sibTrans" cxnId="{FD70F2E1-D587-4613-A078-BED94C252A4E}">
      <dgm:prSet/>
      <dgm:spPr/>
      <dgm:t>
        <a:bodyPr/>
        <a:lstStyle/>
        <a:p>
          <a:endParaRPr lang="en-US"/>
        </a:p>
      </dgm:t>
    </dgm:pt>
    <dgm:pt modelId="{0A64DD8D-6107-45A0-8E04-941A53FBB6BF}">
      <dgm:prSet phldrT="[Text]"/>
      <dgm:spPr/>
      <dgm:t>
        <a:bodyPr/>
        <a:lstStyle/>
        <a:p>
          <a:r>
            <a:rPr lang="en-US" dirty="0" smtClean="0">
              <a:solidFill>
                <a:srgbClr val="C00000"/>
              </a:solidFill>
              <a:ea typeface="+mj-ea"/>
              <a:cs typeface="Calibri" pitchFamily="34" charset="0"/>
            </a:rPr>
            <a:t>Objectives </a:t>
          </a:r>
        </a:p>
      </dgm:t>
    </dgm:pt>
    <dgm:pt modelId="{C5AFB793-CB67-4F46-A101-FF6F526D51A7}" type="parTrans" cxnId="{F2CFA6BE-209E-4A6E-B655-F734ACE9DBBF}">
      <dgm:prSet/>
      <dgm:spPr/>
      <dgm:t>
        <a:bodyPr/>
        <a:lstStyle/>
        <a:p>
          <a:endParaRPr lang="en-US"/>
        </a:p>
      </dgm:t>
    </dgm:pt>
    <dgm:pt modelId="{49F58A0D-9F1B-4E1A-8775-E48B7A49AA06}" type="sibTrans" cxnId="{F2CFA6BE-209E-4A6E-B655-F734ACE9DBBF}">
      <dgm:prSet/>
      <dgm:spPr/>
      <dgm:t>
        <a:bodyPr/>
        <a:lstStyle/>
        <a:p>
          <a:endParaRPr lang="en-US"/>
        </a:p>
      </dgm:t>
    </dgm:pt>
    <dgm:pt modelId="{1622BB43-1897-4555-A536-A77F39582D96}">
      <dgm:prSet phldrT="[Text]"/>
      <dgm:spPr/>
      <dgm:t>
        <a:bodyPr/>
        <a:lstStyle/>
        <a:p>
          <a:r>
            <a:rPr lang="en-US" dirty="0" smtClean="0">
              <a:solidFill>
                <a:srgbClr val="C00000"/>
              </a:solidFill>
              <a:ea typeface="+mj-ea"/>
              <a:cs typeface="Calibri" pitchFamily="34" charset="0"/>
            </a:rPr>
            <a:t>Deliverables   </a:t>
          </a:r>
        </a:p>
      </dgm:t>
    </dgm:pt>
    <dgm:pt modelId="{7F440036-2DA0-4026-86E3-C2D26C297331}" type="parTrans" cxnId="{BCEAF9B4-99C4-4973-A9CE-01FAF1610AE0}">
      <dgm:prSet/>
      <dgm:spPr/>
      <dgm:t>
        <a:bodyPr/>
        <a:lstStyle/>
        <a:p>
          <a:endParaRPr lang="en-US"/>
        </a:p>
      </dgm:t>
    </dgm:pt>
    <dgm:pt modelId="{912B29A0-FF4C-4CA0-B9C8-AAC84452DC5E}" type="sibTrans" cxnId="{BCEAF9B4-99C4-4973-A9CE-01FAF1610AE0}">
      <dgm:prSet/>
      <dgm:spPr/>
      <dgm:t>
        <a:bodyPr/>
        <a:lstStyle/>
        <a:p>
          <a:endParaRPr lang="en-US"/>
        </a:p>
      </dgm:t>
    </dgm:pt>
    <dgm:pt modelId="{C700C3FE-A8B0-42AC-AE8F-CE8D31F5CBEE}">
      <dgm:prSet phldrT="[Text]"/>
      <dgm:spPr/>
      <dgm:t>
        <a:bodyPr/>
        <a:lstStyle/>
        <a:p>
          <a:r>
            <a:rPr lang="en-US" dirty="0" smtClean="0">
              <a:solidFill>
                <a:srgbClr val="C00000"/>
              </a:solidFill>
              <a:ea typeface="+mj-ea"/>
              <a:cs typeface="Calibri" pitchFamily="34" charset="0"/>
            </a:rPr>
            <a:t>Methodology  </a:t>
          </a:r>
        </a:p>
      </dgm:t>
    </dgm:pt>
    <dgm:pt modelId="{B7C5DAE6-5527-47ED-AD38-BA549E801CEE}" type="parTrans" cxnId="{EA52D980-8E78-43C9-B3C8-D84E17E348C7}">
      <dgm:prSet/>
      <dgm:spPr/>
      <dgm:t>
        <a:bodyPr/>
        <a:lstStyle/>
        <a:p>
          <a:endParaRPr lang="en-US"/>
        </a:p>
      </dgm:t>
    </dgm:pt>
    <dgm:pt modelId="{23E092FE-7727-463B-A14B-675646BDA169}" type="sibTrans" cxnId="{EA52D980-8E78-43C9-B3C8-D84E17E348C7}">
      <dgm:prSet/>
      <dgm:spPr/>
      <dgm:t>
        <a:bodyPr/>
        <a:lstStyle/>
        <a:p>
          <a:endParaRPr lang="en-US"/>
        </a:p>
      </dgm:t>
    </dgm:pt>
    <dgm:pt modelId="{FAFA1D64-7F96-4FB2-A299-BDEFDBACED97}" type="pres">
      <dgm:prSet presAssocID="{7FE6B3FE-F7F8-4A4A-AAB8-1323E5AE6276}" presName="vert0" presStyleCnt="0">
        <dgm:presLayoutVars>
          <dgm:dir/>
          <dgm:animOne val="branch"/>
          <dgm:animLvl val="lvl"/>
        </dgm:presLayoutVars>
      </dgm:prSet>
      <dgm:spPr/>
    </dgm:pt>
    <dgm:pt modelId="{F3FBC741-CFDF-49F5-95CD-01242BEB4019}" type="pres">
      <dgm:prSet presAssocID="{9D707CB2-C68E-4B58-9C3F-9373068DBE1C}" presName="thickLine" presStyleLbl="alignNode1" presStyleIdx="0" presStyleCnt="1"/>
      <dgm:spPr/>
    </dgm:pt>
    <dgm:pt modelId="{AE005808-E87C-4495-80C3-29CC96A70758}" type="pres">
      <dgm:prSet presAssocID="{9D707CB2-C68E-4B58-9C3F-9373068DBE1C}" presName="horz1" presStyleCnt="0"/>
      <dgm:spPr/>
    </dgm:pt>
    <dgm:pt modelId="{0C31CDFB-1561-491F-A6FE-2AA02909497C}" type="pres">
      <dgm:prSet presAssocID="{9D707CB2-C68E-4B58-9C3F-9373068DBE1C}" presName="tx1" presStyleLbl="revTx" presStyleIdx="0" presStyleCnt="8"/>
      <dgm:spPr/>
    </dgm:pt>
    <dgm:pt modelId="{42FEF03A-00A0-4071-B739-53FA548CC8CC}" type="pres">
      <dgm:prSet presAssocID="{9D707CB2-C68E-4B58-9C3F-9373068DBE1C}" presName="vert1" presStyleCnt="0"/>
      <dgm:spPr/>
    </dgm:pt>
    <dgm:pt modelId="{E3C4D492-47D4-454C-A1DD-3044A98E4CD3}" type="pres">
      <dgm:prSet presAssocID="{11180F5F-30E1-44CA-B894-D19A05275B88}" presName="vertSpace2a" presStyleCnt="0"/>
      <dgm:spPr/>
    </dgm:pt>
    <dgm:pt modelId="{B8669F09-E78D-4490-A0E1-76A972B88422}" type="pres">
      <dgm:prSet presAssocID="{11180F5F-30E1-44CA-B894-D19A05275B88}" presName="horz2" presStyleCnt="0"/>
      <dgm:spPr/>
    </dgm:pt>
    <dgm:pt modelId="{36A5B943-1159-4053-A8D2-FB409DEF451B}" type="pres">
      <dgm:prSet presAssocID="{11180F5F-30E1-44CA-B894-D19A05275B88}" presName="horzSpace2" presStyleCnt="0"/>
      <dgm:spPr/>
    </dgm:pt>
    <dgm:pt modelId="{A48183B3-8C71-49E3-930A-017329413E70}" type="pres">
      <dgm:prSet presAssocID="{11180F5F-30E1-44CA-B894-D19A05275B88}" presName="tx2" presStyleLbl="revTx" presStyleIdx="1" presStyleCnt="8"/>
      <dgm:spPr/>
      <dgm:t>
        <a:bodyPr/>
        <a:lstStyle/>
        <a:p>
          <a:endParaRPr lang="en-US"/>
        </a:p>
      </dgm:t>
    </dgm:pt>
    <dgm:pt modelId="{6A894885-38FB-4436-AD7E-40BED73161B7}" type="pres">
      <dgm:prSet presAssocID="{11180F5F-30E1-44CA-B894-D19A05275B88}" presName="vert2" presStyleCnt="0"/>
      <dgm:spPr/>
    </dgm:pt>
    <dgm:pt modelId="{DF5A9955-D65E-4DC1-8C4A-C3EDBB5E4755}" type="pres">
      <dgm:prSet presAssocID="{11180F5F-30E1-44CA-B894-D19A05275B88}" presName="thinLine2b" presStyleLbl="callout" presStyleIdx="0" presStyleCnt="7"/>
      <dgm:spPr/>
    </dgm:pt>
    <dgm:pt modelId="{21B91637-C88E-4816-973F-72850BF6011D}" type="pres">
      <dgm:prSet presAssocID="{11180F5F-30E1-44CA-B894-D19A05275B88}" presName="vertSpace2b" presStyleCnt="0"/>
      <dgm:spPr/>
    </dgm:pt>
    <dgm:pt modelId="{B63B0B27-FBD1-4529-AC58-AFCC09D016EB}" type="pres">
      <dgm:prSet presAssocID="{AB7A522B-1F90-4749-AA7E-EBD2E54568EB}" presName="horz2" presStyleCnt="0"/>
      <dgm:spPr/>
    </dgm:pt>
    <dgm:pt modelId="{A95BF4AE-C6F8-422B-996E-C3130756BC88}" type="pres">
      <dgm:prSet presAssocID="{AB7A522B-1F90-4749-AA7E-EBD2E54568EB}" presName="horzSpace2" presStyleCnt="0"/>
      <dgm:spPr/>
    </dgm:pt>
    <dgm:pt modelId="{8BCADF10-5416-4B7C-9C73-F3F529BB77FB}" type="pres">
      <dgm:prSet presAssocID="{AB7A522B-1F90-4749-AA7E-EBD2E54568EB}" presName="tx2" presStyleLbl="revTx" presStyleIdx="2" presStyleCnt="8"/>
      <dgm:spPr/>
      <dgm:t>
        <a:bodyPr/>
        <a:lstStyle/>
        <a:p>
          <a:endParaRPr lang="en-US"/>
        </a:p>
      </dgm:t>
    </dgm:pt>
    <dgm:pt modelId="{CAB84DFE-7AC5-4AF0-9C67-CAD16AE12F09}" type="pres">
      <dgm:prSet presAssocID="{AB7A522B-1F90-4749-AA7E-EBD2E54568EB}" presName="vert2" presStyleCnt="0"/>
      <dgm:spPr/>
    </dgm:pt>
    <dgm:pt modelId="{C45703A1-1A4C-4FA2-A329-9B1D0A23B5C5}" type="pres">
      <dgm:prSet presAssocID="{AB7A522B-1F90-4749-AA7E-EBD2E54568EB}" presName="thinLine2b" presStyleLbl="callout" presStyleIdx="1" presStyleCnt="7"/>
      <dgm:spPr/>
    </dgm:pt>
    <dgm:pt modelId="{812FA589-FD42-4BB1-994F-25923B4A8C35}" type="pres">
      <dgm:prSet presAssocID="{AB7A522B-1F90-4749-AA7E-EBD2E54568EB}" presName="vertSpace2b" presStyleCnt="0"/>
      <dgm:spPr/>
    </dgm:pt>
    <dgm:pt modelId="{856BF7E6-34E4-41E7-9F5D-1910164BC868}" type="pres">
      <dgm:prSet presAssocID="{67DDCDD5-BC37-4A03-BCDA-67CCE12D7910}" presName="horz2" presStyleCnt="0"/>
      <dgm:spPr/>
    </dgm:pt>
    <dgm:pt modelId="{19006613-803C-4C19-BF2C-F526923FE8F0}" type="pres">
      <dgm:prSet presAssocID="{67DDCDD5-BC37-4A03-BCDA-67CCE12D7910}" presName="horzSpace2" presStyleCnt="0"/>
      <dgm:spPr/>
    </dgm:pt>
    <dgm:pt modelId="{BA55A809-AB3C-4717-8A7D-72908B44EC07}" type="pres">
      <dgm:prSet presAssocID="{67DDCDD5-BC37-4A03-BCDA-67CCE12D7910}" presName="tx2" presStyleLbl="revTx" presStyleIdx="3" presStyleCnt="8"/>
      <dgm:spPr/>
      <dgm:t>
        <a:bodyPr/>
        <a:lstStyle/>
        <a:p>
          <a:endParaRPr lang="en-US"/>
        </a:p>
      </dgm:t>
    </dgm:pt>
    <dgm:pt modelId="{0ECE482B-3030-41F4-810C-8464BF7DB494}" type="pres">
      <dgm:prSet presAssocID="{67DDCDD5-BC37-4A03-BCDA-67CCE12D7910}" presName="vert2" presStyleCnt="0"/>
      <dgm:spPr/>
    </dgm:pt>
    <dgm:pt modelId="{22109C6E-6C7A-48C3-A853-16201401B80B}" type="pres">
      <dgm:prSet presAssocID="{67DDCDD5-BC37-4A03-BCDA-67CCE12D7910}" presName="thinLine2b" presStyleLbl="callout" presStyleIdx="2" presStyleCnt="7"/>
      <dgm:spPr/>
    </dgm:pt>
    <dgm:pt modelId="{A739BDBB-CEEF-4ECA-AAD4-86476C21ABBE}" type="pres">
      <dgm:prSet presAssocID="{67DDCDD5-BC37-4A03-BCDA-67CCE12D7910}" presName="vertSpace2b" presStyleCnt="0"/>
      <dgm:spPr/>
    </dgm:pt>
    <dgm:pt modelId="{E700F823-F04E-4354-BA36-511A913C3F0D}" type="pres">
      <dgm:prSet presAssocID="{8F4365F3-8E56-4299-B55D-111A95DC7E38}" presName="horz2" presStyleCnt="0"/>
      <dgm:spPr/>
    </dgm:pt>
    <dgm:pt modelId="{9DEAC1E6-D325-4213-A3FA-5A30EF9B11F5}" type="pres">
      <dgm:prSet presAssocID="{8F4365F3-8E56-4299-B55D-111A95DC7E38}" presName="horzSpace2" presStyleCnt="0"/>
      <dgm:spPr/>
    </dgm:pt>
    <dgm:pt modelId="{7D8BF4DC-0774-4458-AC0F-92B6DB964DBA}" type="pres">
      <dgm:prSet presAssocID="{8F4365F3-8E56-4299-B55D-111A95DC7E38}" presName="tx2" presStyleLbl="revTx" presStyleIdx="4" presStyleCnt="8"/>
      <dgm:spPr/>
      <dgm:t>
        <a:bodyPr/>
        <a:lstStyle/>
        <a:p>
          <a:endParaRPr lang="en-US"/>
        </a:p>
      </dgm:t>
    </dgm:pt>
    <dgm:pt modelId="{D7EEFFEF-2EE3-4934-A714-2A322BDAA269}" type="pres">
      <dgm:prSet presAssocID="{8F4365F3-8E56-4299-B55D-111A95DC7E38}" presName="vert2" presStyleCnt="0"/>
      <dgm:spPr/>
    </dgm:pt>
    <dgm:pt modelId="{33761945-E023-479C-8237-68694866D438}" type="pres">
      <dgm:prSet presAssocID="{8F4365F3-8E56-4299-B55D-111A95DC7E38}" presName="thinLine2b" presStyleLbl="callout" presStyleIdx="3" presStyleCnt="7"/>
      <dgm:spPr/>
    </dgm:pt>
    <dgm:pt modelId="{EB4CF0C9-C1C0-4842-BDD9-A42476AC387E}" type="pres">
      <dgm:prSet presAssocID="{8F4365F3-8E56-4299-B55D-111A95DC7E38}" presName="vertSpace2b" presStyleCnt="0"/>
      <dgm:spPr/>
    </dgm:pt>
    <dgm:pt modelId="{D044EBF4-6560-478A-AD37-E2B14A9FC1E9}" type="pres">
      <dgm:prSet presAssocID="{0A64DD8D-6107-45A0-8E04-941A53FBB6BF}" presName="horz2" presStyleCnt="0"/>
      <dgm:spPr/>
    </dgm:pt>
    <dgm:pt modelId="{8332F127-87A7-4815-99B8-6533A3B792E5}" type="pres">
      <dgm:prSet presAssocID="{0A64DD8D-6107-45A0-8E04-941A53FBB6BF}" presName="horzSpace2" presStyleCnt="0"/>
      <dgm:spPr/>
    </dgm:pt>
    <dgm:pt modelId="{7A120EE1-52FB-4C66-94EB-3F899F4ED1BD}" type="pres">
      <dgm:prSet presAssocID="{0A64DD8D-6107-45A0-8E04-941A53FBB6BF}" presName="tx2" presStyleLbl="revTx" presStyleIdx="5" presStyleCnt="8"/>
      <dgm:spPr/>
      <dgm:t>
        <a:bodyPr/>
        <a:lstStyle/>
        <a:p>
          <a:endParaRPr lang="en-US"/>
        </a:p>
      </dgm:t>
    </dgm:pt>
    <dgm:pt modelId="{B480EF3B-AB8F-4586-ABB9-09946897C515}" type="pres">
      <dgm:prSet presAssocID="{0A64DD8D-6107-45A0-8E04-941A53FBB6BF}" presName="vert2" presStyleCnt="0"/>
      <dgm:spPr/>
    </dgm:pt>
    <dgm:pt modelId="{2D55A044-E98F-4543-A8C7-61B6CDB1A50A}" type="pres">
      <dgm:prSet presAssocID="{0A64DD8D-6107-45A0-8E04-941A53FBB6BF}" presName="thinLine2b" presStyleLbl="callout" presStyleIdx="4" presStyleCnt="7"/>
      <dgm:spPr/>
    </dgm:pt>
    <dgm:pt modelId="{F84ACD00-DCF4-4DBD-A8A9-4A7C5AE09328}" type="pres">
      <dgm:prSet presAssocID="{0A64DD8D-6107-45A0-8E04-941A53FBB6BF}" presName="vertSpace2b" presStyleCnt="0"/>
      <dgm:spPr/>
    </dgm:pt>
    <dgm:pt modelId="{9045DABB-0E35-4486-A50C-72C6D24BCDB6}" type="pres">
      <dgm:prSet presAssocID="{C700C3FE-A8B0-42AC-AE8F-CE8D31F5CBEE}" presName="horz2" presStyleCnt="0"/>
      <dgm:spPr/>
    </dgm:pt>
    <dgm:pt modelId="{92AA1172-C41E-45CF-AD56-E63F5344FFE8}" type="pres">
      <dgm:prSet presAssocID="{C700C3FE-A8B0-42AC-AE8F-CE8D31F5CBEE}" presName="horzSpace2" presStyleCnt="0"/>
      <dgm:spPr/>
    </dgm:pt>
    <dgm:pt modelId="{C8F51C5D-0117-4C43-AD71-05C3048D1EDB}" type="pres">
      <dgm:prSet presAssocID="{C700C3FE-A8B0-42AC-AE8F-CE8D31F5CBEE}" presName="tx2" presStyleLbl="revTx" presStyleIdx="6" presStyleCnt="8"/>
      <dgm:spPr/>
      <dgm:t>
        <a:bodyPr/>
        <a:lstStyle/>
        <a:p>
          <a:endParaRPr lang="en-US"/>
        </a:p>
      </dgm:t>
    </dgm:pt>
    <dgm:pt modelId="{964DF0E0-EB20-4F03-94AA-18489F62E139}" type="pres">
      <dgm:prSet presAssocID="{C700C3FE-A8B0-42AC-AE8F-CE8D31F5CBEE}" presName="vert2" presStyleCnt="0"/>
      <dgm:spPr/>
    </dgm:pt>
    <dgm:pt modelId="{0F8DB599-703C-4998-A976-0311BD7D4C08}" type="pres">
      <dgm:prSet presAssocID="{C700C3FE-A8B0-42AC-AE8F-CE8D31F5CBEE}" presName="thinLine2b" presStyleLbl="callout" presStyleIdx="5" presStyleCnt="7"/>
      <dgm:spPr/>
    </dgm:pt>
    <dgm:pt modelId="{B30358A3-2B26-4510-88D4-CC142879AAE1}" type="pres">
      <dgm:prSet presAssocID="{C700C3FE-A8B0-42AC-AE8F-CE8D31F5CBEE}" presName="vertSpace2b" presStyleCnt="0"/>
      <dgm:spPr/>
    </dgm:pt>
    <dgm:pt modelId="{EE7F5BC3-B754-4B73-AE6A-B6C5530861CA}" type="pres">
      <dgm:prSet presAssocID="{1622BB43-1897-4555-A536-A77F39582D96}" presName="horz2" presStyleCnt="0"/>
      <dgm:spPr/>
    </dgm:pt>
    <dgm:pt modelId="{A8C947CB-7FB3-4A37-AF3D-479EC291D120}" type="pres">
      <dgm:prSet presAssocID="{1622BB43-1897-4555-A536-A77F39582D96}" presName="horzSpace2" presStyleCnt="0"/>
      <dgm:spPr/>
    </dgm:pt>
    <dgm:pt modelId="{C8EDFDBA-0AED-4FBE-8791-9A013D399D54}" type="pres">
      <dgm:prSet presAssocID="{1622BB43-1897-4555-A536-A77F39582D96}" presName="tx2" presStyleLbl="revTx" presStyleIdx="7" presStyleCnt="8"/>
      <dgm:spPr/>
      <dgm:t>
        <a:bodyPr/>
        <a:lstStyle/>
        <a:p>
          <a:endParaRPr lang="en-US"/>
        </a:p>
      </dgm:t>
    </dgm:pt>
    <dgm:pt modelId="{27EDD563-CDE8-4EF8-B36E-3D625D9C956C}" type="pres">
      <dgm:prSet presAssocID="{1622BB43-1897-4555-A536-A77F39582D96}" presName="vert2" presStyleCnt="0"/>
      <dgm:spPr/>
    </dgm:pt>
    <dgm:pt modelId="{6D08BB01-0535-4B6D-85EB-1625BAD75230}" type="pres">
      <dgm:prSet presAssocID="{1622BB43-1897-4555-A536-A77F39582D96}" presName="thinLine2b" presStyleLbl="callout" presStyleIdx="6" presStyleCnt="7"/>
      <dgm:spPr/>
    </dgm:pt>
    <dgm:pt modelId="{DE366E92-55F8-4A39-9095-74F7833F7D76}" type="pres">
      <dgm:prSet presAssocID="{1622BB43-1897-4555-A536-A77F39582D96}" presName="vertSpace2b" presStyleCnt="0"/>
      <dgm:spPr/>
    </dgm:pt>
  </dgm:ptLst>
  <dgm:cxnLst>
    <dgm:cxn modelId="{395D5858-FB04-4F6F-BC4B-F89B9876B08F}" type="presOf" srcId="{8F4365F3-8E56-4299-B55D-111A95DC7E38}" destId="{7D8BF4DC-0774-4458-AC0F-92B6DB964DBA}" srcOrd="0" destOrd="0" presId="urn:microsoft.com/office/officeart/2008/layout/LinedList"/>
    <dgm:cxn modelId="{851AA4D6-452C-44AA-949A-3769CEC64A8D}" srcId="{9D707CB2-C68E-4B58-9C3F-9373068DBE1C}" destId="{8F4365F3-8E56-4299-B55D-111A95DC7E38}" srcOrd="3" destOrd="0" parTransId="{AB19ADA4-4297-4A35-8E0C-429721CD397F}" sibTransId="{37AE70FB-4414-4CF3-9DE3-696B33C648AB}"/>
    <dgm:cxn modelId="{FD70F2E1-D587-4613-A078-BED94C252A4E}" srcId="{9D707CB2-C68E-4B58-9C3F-9373068DBE1C}" destId="{AB7A522B-1F90-4749-AA7E-EBD2E54568EB}" srcOrd="1" destOrd="0" parTransId="{9DF8BEA5-21B2-4306-A4AE-8F55B9EE18A3}" sibTransId="{15BF9043-9F9F-47D9-B44F-994FD6A5A31A}"/>
    <dgm:cxn modelId="{38568FE3-8262-4C0C-A827-91A301464797}" type="presOf" srcId="{AB7A522B-1F90-4749-AA7E-EBD2E54568EB}" destId="{8BCADF10-5416-4B7C-9C73-F3F529BB77FB}" srcOrd="0" destOrd="0" presId="urn:microsoft.com/office/officeart/2008/layout/LinedList"/>
    <dgm:cxn modelId="{08CA8DC3-7349-4ED3-AF91-2FAD154A19F5}" srcId="{7FE6B3FE-F7F8-4A4A-AAB8-1323E5AE6276}" destId="{9D707CB2-C68E-4B58-9C3F-9373068DBE1C}" srcOrd="0" destOrd="0" parTransId="{B0C5B805-1852-485B-86A2-E359D9F4B25B}" sibTransId="{6528AE05-2EA4-4B2C-8724-BD2494C831AC}"/>
    <dgm:cxn modelId="{8A5C1614-708F-43EF-9C46-55DAE451271E}" type="presOf" srcId="{9D707CB2-C68E-4B58-9C3F-9373068DBE1C}" destId="{0C31CDFB-1561-491F-A6FE-2AA02909497C}" srcOrd="0" destOrd="0" presId="urn:microsoft.com/office/officeart/2008/layout/LinedList"/>
    <dgm:cxn modelId="{E8EDDC27-5E7D-459C-8314-9547D9B24FBC}" type="presOf" srcId="{67DDCDD5-BC37-4A03-BCDA-67CCE12D7910}" destId="{BA55A809-AB3C-4717-8A7D-72908B44EC07}" srcOrd="0" destOrd="0" presId="urn:microsoft.com/office/officeart/2008/layout/LinedList"/>
    <dgm:cxn modelId="{40B09902-8B12-468C-B36C-2909969D1815}" type="presOf" srcId="{7FE6B3FE-F7F8-4A4A-AAB8-1323E5AE6276}" destId="{FAFA1D64-7F96-4FB2-A299-BDEFDBACED97}" srcOrd="0" destOrd="0" presId="urn:microsoft.com/office/officeart/2008/layout/LinedList"/>
    <dgm:cxn modelId="{99ADCC2D-4991-4E4C-9D93-790274875657}" srcId="{9D707CB2-C68E-4B58-9C3F-9373068DBE1C}" destId="{11180F5F-30E1-44CA-B894-D19A05275B88}" srcOrd="0" destOrd="0" parTransId="{D33A94B5-CDC8-4B79-9397-AAE74F13B81F}" sibTransId="{C22E6C00-87F6-44BB-B4B7-E3955BDE048F}"/>
    <dgm:cxn modelId="{E9BF61AD-5281-4643-89AB-AB85A09D9F4D}" type="presOf" srcId="{0A64DD8D-6107-45A0-8E04-941A53FBB6BF}" destId="{7A120EE1-52FB-4C66-94EB-3F899F4ED1BD}" srcOrd="0" destOrd="0" presId="urn:microsoft.com/office/officeart/2008/layout/LinedList"/>
    <dgm:cxn modelId="{F2CFA6BE-209E-4A6E-B655-F734ACE9DBBF}" srcId="{9D707CB2-C68E-4B58-9C3F-9373068DBE1C}" destId="{0A64DD8D-6107-45A0-8E04-941A53FBB6BF}" srcOrd="4" destOrd="0" parTransId="{C5AFB793-CB67-4F46-A101-FF6F526D51A7}" sibTransId="{49F58A0D-9F1B-4E1A-8775-E48B7A49AA06}"/>
    <dgm:cxn modelId="{65285C7B-6A7F-4039-B1B3-1338DC1F45F6}" type="presOf" srcId="{1622BB43-1897-4555-A536-A77F39582D96}" destId="{C8EDFDBA-0AED-4FBE-8791-9A013D399D54}" srcOrd="0" destOrd="0" presId="urn:microsoft.com/office/officeart/2008/layout/LinedList"/>
    <dgm:cxn modelId="{92076BEC-DA9D-4097-86E2-ECF76088CF03}" srcId="{9D707CB2-C68E-4B58-9C3F-9373068DBE1C}" destId="{67DDCDD5-BC37-4A03-BCDA-67CCE12D7910}" srcOrd="2" destOrd="0" parTransId="{9515554B-E759-4E29-B841-311095169386}" sibTransId="{2A68034B-F76C-48B2-8D4F-465AD906D98D}"/>
    <dgm:cxn modelId="{AEF602D4-5B91-4961-9AE5-62B5341049B2}" type="presOf" srcId="{C700C3FE-A8B0-42AC-AE8F-CE8D31F5CBEE}" destId="{C8F51C5D-0117-4C43-AD71-05C3048D1EDB}" srcOrd="0" destOrd="0" presId="urn:microsoft.com/office/officeart/2008/layout/LinedList"/>
    <dgm:cxn modelId="{BCEAF9B4-99C4-4973-A9CE-01FAF1610AE0}" srcId="{9D707CB2-C68E-4B58-9C3F-9373068DBE1C}" destId="{1622BB43-1897-4555-A536-A77F39582D96}" srcOrd="6" destOrd="0" parTransId="{7F440036-2DA0-4026-86E3-C2D26C297331}" sibTransId="{912B29A0-FF4C-4CA0-B9C8-AAC84452DC5E}"/>
    <dgm:cxn modelId="{EA52D980-8E78-43C9-B3C8-D84E17E348C7}" srcId="{9D707CB2-C68E-4B58-9C3F-9373068DBE1C}" destId="{C700C3FE-A8B0-42AC-AE8F-CE8D31F5CBEE}" srcOrd="5" destOrd="0" parTransId="{B7C5DAE6-5527-47ED-AD38-BA549E801CEE}" sibTransId="{23E092FE-7727-463B-A14B-675646BDA169}"/>
    <dgm:cxn modelId="{C35DD692-DC08-47E9-93EB-2B054B459C39}" type="presOf" srcId="{11180F5F-30E1-44CA-B894-D19A05275B88}" destId="{A48183B3-8C71-49E3-930A-017329413E70}" srcOrd="0" destOrd="0" presId="urn:microsoft.com/office/officeart/2008/layout/LinedList"/>
    <dgm:cxn modelId="{40C252CF-638B-47D0-8FDA-09088A85BEF8}" type="presParOf" srcId="{FAFA1D64-7F96-4FB2-A299-BDEFDBACED97}" destId="{F3FBC741-CFDF-49F5-95CD-01242BEB4019}" srcOrd="0" destOrd="0" presId="urn:microsoft.com/office/officeart/2008/layout/LinedList"/>
    <dgm:cxn modelId="{2152AB16-3693-42B8-884F-EC5C1881BA4A}" type="presParOf" srcId="{FAFA1D64-7F96-4FB2-A299-BDEFDBACED97}" destId="{AE005808-E87C-4495-80C3-29CC96A70758}" srcOrd="1" destOrd="0" presId="urn:microsoft.com/office/officeart/2008/layout/LinedList"/>
    <dgm:cxn modelId="{DEDC8E35-BCD2-4125-BFCE-B73E4025B76E}" type="presParOf" srcId="{AE005808-E87C-4495-80C3-29CC96A70758}" destId="{0C31CDFB-1561-491F-A6FE-2AA02909497C}" srcOrd="0" destOrd="0" presId="urn:microsoft.com/office/officeart/2008/layout/LinedList"/>
    <dgm:cxn modelId="{898D1B8F-0BD7-4E49-82CB-6E14593E4490}" type="presParOf" srcId="{AE005808-E87C-4495-80C3-29CC96A70758}" destId="{42FEF03A-00A0-4071-B739-53FA548CC8CC}" srcOrd="1" destOrd="0" presId="urn:microsoft.com/office/officeart/2008/layout/LinedList"/>
    <dgm:cxn modelId="{DEABB104-57B3-4170-887B-907FD1F61B5D}" type="presParOf" srcId="{42FEF03A-00A0-4071-B739-53FA548CC8CC}" destId="{E3C4D492-47D4-454C-A1DD-3044A98E4CD3}" srcOrd="0" destOrd="0" presId="urn:microsoft.com/office/officeart/2008/layout/LinedList"/>
    <dgm:cxn modelId="{52C6C1E1-4A15-42CA-9479-716722DB91F7}" type="presParOf" srcId="{42FEF03A-00A0-4071-B739-53FA548CC8CC}" destId="{B8669F09-E78D-4490-A0E1-76A972B88422}" srcOrd="1" destOrd="0" presId="urn:microsoft.com/office/officeart/2008/layout/LinedList"/>
    <dgm:cxn modelId="{FE2D2C22-B720-4A58-889A-ADCBD4814686}" type="presParOf" srcId="{B8669F09-E78D-4490-A0E1-76A972B88422}" destId="{36A5B943-1159-4053-A8D2-FB409DEF451B}" srcOrd="0" destOrd="0" presId="urn:microsoft.com/office/officeart/2008/layout/LinedList"/>
    <dgm:cxn modelId="{6966ABE5-5FB2-4B13-91D2-3C911B50D406}" type="presParOf" srcId="{B8669F09-E78D-4490-A0E1-76A972B88422}" destId="{A48183B3-8C71-49E3-930A-017329413E70}" srcOrd="1" destOrd="0" presId="urn:microsoft.com/office/officeart/2008/layout/LinedList"/>
    <dgm:cxn modelId="{6B9B4B82-51FE-419C-B8E6-CC9FDA800843}" type="presParOf" srcId="{B8669F09-E78D-4490-A0E1-76A972B88422}" destId="{6A894885-38FB-4436-AD7E-40BED73161B7}" srcOrd="2" destOrd="0" presId="urn:microsoft.com/office/officeart/2008/layout/LinedList"/>
    <dgm:cxn modelId="{5FDBBF05-FADA-452A-BBC0-0CE6245F9C2D}" type="presParOf" srcId="{42FEF03A-00A0-4071-B739-53FA548CC8CC}" destId="{DF5A9955-D65E-4DC1-8C4A-C3EDBB5E4755}" srcOrd="2" destOrd="0" presId="urn:microsoft.com/office/officeart/2008/layout/LinedList"/>
    <dgm:cxn modelId="{6BA8B20A-DCF3-4011-AD54-61E19477EF7F}" type="presParOf" srcId="{42FEF03A-00A0-4071-B739-53FA548CC8CC}" destId="{21B91637-C88E-4816-973F-72850BF6011D}" srcOrd="3" destOrd="0" presId="urn:microsoft.com/office/officeart/2008/layout/LinedList"/>
    <dgm:cxn modelId="{D6C20929-8DA8-4EEA-B2B7-AEB9207F99E8}" type="presParOf" srcId="{42FEF03A-00A0-4071-B739-53FA548CC8CC}" destId="{B63B0B27-FBD1-4529-AC58-AFCC09D016EB}" srcOrd="4" destOrd="0" presId="urn:microsoft.com/office/officeart/2008/layout/LinedList"/>
    <dgm:cxn modelId="{41D80928-D651-4D03-A049-F4BC03025572}" type="presParOf" srcId="{B63B0B27-FBD1-4529-AC58-AFCC09D016EB}" destId="{A95BF4AE-C6F8-422B-996E-C3130756BC88}" srcOrd="0" destOrd="0" presId="urn:microsoft.com/office/officeart/2008/layout/LinedList"/>
    <dgm:cxn modelId="{80A355E6-5BEC-4D73-A9FD-F76BCE885451}" type="presParOf" srcId="{B63B0B27-FBD1-4529-AC58-AFCC09D016EB}" destId="{8BCADF10-5416-4B7C-9C73-F3F529BB77FB}" srcOrd="1" destOrd="0" presId="urn:microsoft.com/office/officeart/2008/layout/LinedList"/>
    <dgm:cxn modelId="{24892BF0-4D45-4E24-8791-C8F28BCEA1AC}" type="presParOf" srcId="{B63B0B27-FBD1-4529-AC58-AFCC09D016EB}" destId="{CAB84DFE-7AC5-4AF0-9C67-CAD16AE12F09}" srcOrd="2" destOrd="0" presId="urn:microsoft.com/office/officeart/2008/layout/LinedList"/>
    <dgm:cxn modelId="{32F9FF97-1A35-4FCF-9EAF-8B73312EA414}" type="presParOf" srcId="{42FEF03A-00A0-4071-B739-53FA548CC8CC}" destId="{C45703A1-1A4C-4FA2-A329-9B1D0A23B5C5}" srcOrd="5" destOrd="0" presId="urn:microsoft.com/office/officeart/2008/layout/LinedList"/>
    <dgm:cxn modelId="{655B1498-BF78-4005-AB8F-FC3F1DEC91A0}" type="presParOf" srcId="{42FEF03A-00A0-4071-B739-53FA548CC8CC}" destId="{812FA589-FD42-4BB1-994F-25923B4A8C35}" srcOrd="6" destOrd="0" presId="urn:microsoft.com/office/officeart/2008/layout/LinedList"/>
    <dgm:cxn modelId="{97F7DD73-FB67-49FB-8070-31DB83C891AA}" type="presParOf" srcId="{42FEF03A-00A0-4071-B739-53FA548CC8CC}" destId="{856BF7E6-34E4-41E7-9F5D-1910164BC868}" srcOrd="7" destOrd="0" presId="urn:microsoft.com/office/officeart/2008/layout/LinedList"/>
    <dgm:cxn modelId="{F0B317C1-9EDC-49DA-9BF7-FBEAC3404DFA}" type="presParOf" srcId="{856BF7E6-34E4-41E7-9F5D-1910164BC868}" destId="{19006613-803C-4C19-BF2C-F526923FE8F0}" srcOrd="0" destOrd="0" presId="urn:microsoft.com/office/officeart/2008/layout/LinedList"/>
    <dgm:cxn modelId="{A1D1B966-139A-42D8-A69D-E1E9CFA7E391}" type="presParOf" srcId="{856BF7E6-34E4-41E7-9F5D-1910164BC868}" destId="{BA55A809-AB3C-4717-8A7D-72908B44EC07}" srcOrd="1" destOrd="0" presId="urn:microsoft.com/office/officeart/2008/layout/LinedList"/>
    <dgm:cxn modelId="{D0B802B8-E9C4-4F6E-B2DB-CFF123577737}" type="presParOf" srcId="{856BF7E6-34E4-41E7-9F5D-1910164BC868}" destId="{0ECE482B-3030-41F4-810C-8464BF7DB494}" srcOrd="2" destOrd="0" presId="urn:microsoft.com/office/officeart/2008/layout/LinedList"/>
    <dgm:cxn modelId="{598CAF4C-2E98-4119-9681-6E3CB9B36DC0}" type="presParOf" srcId="{42FEF03A-00A0-4071-B739-53FA548CC8CC}" destId="{22109C6E-6C7A-48C3-A853-16201401B80B}" srcOrd="8" destOrd="0" presId="urn:microsoft.com/office/officeart/2008/layout/LinedList"/>
    <dgm:cxn modelId="{875E454E-B833-49CA-8BF7-0F822BEED86C}" type="presParOf" srcId="{42FEF03A-00A0-4071-B739-53FA548CC8CC}" destId="{A739BDBB-CEEF-4ECA-AAD4-86476C21ABBE}" srcOrd="9" destOrd="0" presId="urn:microsoft.com/office/officeart/2008/layout/LinedList"/>
    <dgm:cxn modelId="{790A5F09-F0E1-4C22-8136-3B83C37F8863}" type="presParOf" srcId="{42FEF03A-00A0-4071-B739-53FA548CC8CC}" destId="{E700F823-F04E-4354-BA36-511A913C3F0D}" srcOrd="10" destOrd="0" presId="urn:microsoft.com/office/officeart/2008/layout/LinedList"/>
    <dgm:cxn modelId="{DDE884C9-BBF6-4811-B99C-D918E3A86469}" type="presParOf" srcId="{E700F823-F04E-4354-BA36-511A913C3F0D}" destId="{9DEAC1E6-D325-4213-A3FA-5A30EF9B11F5}" srcOrd="0" destOrd="0" presId="urn:microsoft.com/office/officeart/2008/layout/LinedList"/>
    <dgm:cxn modelId="{95E1C2C7-5E1B-41D1-89F2-68AE3D83DB3B}" type="presParOf" srcId="{E700F823-F04E-4354-BA36-511A913C3F0D}" destId="{7D8BF4DC-0774-4458-AC0F-92B6DB964DBA}" srcOrd="1" destOrd="0" presId="urn:microsoft.com/office/officeart/2008/layout/LinedList"/>
    <dgm:cxn modelId="{B7C13EA3-FACB-4406-B002-D3C28E702D80}" type="presParOf" srcId="{E700F823-F04E-4354-BA36-511A913C3F0D}" destId="{D7EEFFEF-2EE3-4934-A714-2A322BDAA269}" srcOrd="2" destOrd="0" presId="urn:microsoft.com/office/officeart/2008/layout/LinedList"/>
    <dgm:cxn modelId="{D27D5D47-1BF0-44F4-A8CA-BA4452E1687F}" type="presParOf" srcId="{42FEF03A-00A0-4071-B739-53FA548CC8CC}" destId="{33761945-E023-479C-8237-68694866D438}" srcOrd="11" destOrd="0" presId="urn:microsoft.com/office/officeart/2008/layout/LinedList"/>
    <dgm:cxn modelId="{2753C9BB-7630-4504-A2B1-D2AD3246CD06}" type="presParOf" srcId="{42FEF03A-00A0-4071-B739-53FA548CC8CC}" destId="{EB4CF0C9-C1C0-4842-BDD9-A42476AC387E}" srcOrd="12" destOrd="0" presId="urn:microsoft.com/office/officeart/2008/layout/LinedList"/>
    <dgm:cxn modelId="{ACFFF5E0-F91A-431F-A4EF-5B38644384F8}" type="presParOf" srcId="{42FEF03A-00A0-4071-B739-53FA548CC8CC}" destId="{D044EBF4-6560-478A-AD37-E2B14A9FC1E9}" srcOrd="13" destOrd="0" presId="urn:microsoft.com/office/officeart/2008/layout/LinedList"/>
    <dgm:cxn modelId="{714B1D29-1D34-4558-A166-1C63D526973F}" type="presParOf" srcId="{D044EBF4-6560-478A-AD37-E2B14A9FC1E9}" destId="{8332F127-87A7-4815-99B8-6533A3B792E5}" srcOrd="0" destOrd="0" presId="urn:microsoft.com/office/officeart/2008/layout/LinedList"/>
    <dgm:cxn modelId="{51E702AE-2744-40C2-B230-CC68A70700AC}" type="presParOf" srcId="{D044EBF4-6560-478A-AD37-E2B14A9FC1E9}" destId="{7A120EE1-52FB-4C66-94EB-3F899F4ED1BD}" srcOrd="1" destOrd="0" presId="urn:microsoft.com/office/officeart/2008/layout/LinedList"/>
    <dgm:cxn modelId="{0427EC04-BF72-484E-8682-DED650D1C5EC}" type="presParOf" srcId="{D044EBF4-6560-478A-AD37-E2B14A9FC1E9}" destId="{B480EF3B-AB8F-4586-ABB9-09946897C515}" srcOrd="2" destOrd="0" presId="urn:microsoft.com/office/officeart/2008/layout/LinedList"/>
    <dgm:cxn modelId="{F1CFC8A8-3FED-4C58-8334-164E9E9F754F}" type="presParOf" srcId="{42FEF03A-00A0-4071-B739-53FA548CC8CC}" destId="{2D55A044-E98F-4543-A8C7-61B6CDB1A50A}" srcOrd="14" destOrd="0" presId="urn:microsoft.com/office/officeart/2008/layout/LinedList"/>
    <dgm:cxn modelId="{CDCE605C-8D8F-4F13-A8F2-B35517835289}" type="presParOf" srcId="{42FEF03A-00A0-4071-B739-53FA548CC8CC}" destId="{F84ACD00-DCF4-4DBD-A8A9-4A7C5AE09328}" srcOrd="15" destOrd="0" presId="urn:microsoft.com/office/officeart/2008/layout/LinedList"/>
    <dgm:cxn modelId="{11552864-5A55-4392-B109-5EBBA538BE6D}" type="presParOf" srcId="{42FEF03A-00A0-4071-B739-53FA548CC8CC}" destId="{9045DABB-0E35-4486-A50C-72C6D24BCDB6}" srcOrd="16" destOrd="0" presId="urn:microsoft.com/office/officeart/2008/layout/LinedList"/>
    <dgm:cxn modelId="{4F937227-4E2A-4573-B7E7-A42D95945DE7}" type="presParOf" srcId="{9045DABB-0E35-4486-A50C-72C6D24BCDB6}" destId="{92AA1172-C41E-45CF-AD56-E63F5344FFE8}" srcOrd="0" destOrd="0" presId="urn:microsoft.com/office/officeart/2008/layout/LinedList"/>
    <dgm:cxn modelId="{D8EBEF5F-E4DE-41DD-B0BF-FC0A5222F986}" type="presParOf" srcId="{9045DABB-0E35-4486-A50C-72C6D24BCDB6}" destId="{C8F51C5D-0117-4C43-AD71-05C3048D1EDB}" srcOrd="1" destOrd="0" presId="urn:microsoft.com/office/officeart/2008/layout/LinedList"/>
    <dgm:cxn modelId="{4DB6CB51-3626-4B02-9C15-830C65A558BF}" type="presParOf" srcId="{9045DABB-0E35-4486-A50C-72C6D24BCDB6}" destId="{964DF0E0-EB20-4F03-94AA-18489F62E139}" srcOrd="2" destOrd="0" presId="urn:microsoft.com/office/officeart/2008/layout/LinedList"/>
    <dgm:cxn modelId="{EC1B218D-8528-42AF-9E9B-E544BB8C1858}" type="presParOf" srcId="{42FEF03A-00A0-4071-B739-53FA548CC8CC}" destId="{0F8DB599-703C-4998-A976-0311BD7D4C08}" srcOrd="17" destOrd="0" presId="urn:microsoft.com/office/officeart/2008/layout/LinedList"/>
    <dgm:cxn modelId="{33AAC622-81C7-46D1-A66B-73BEE885E487}" type="presParOf" srcId="{42FEF03A-00A0-4071-B739-53FA548CC8CC}" destId="{B30358A3-2B26-4510-88D4-CC142879AAE1}" srcOrd="18" destOrd="0" presId="urn:microsoft.com/office/officeart/2008/layout/LinedList"/>
    <dgm:cxn modelId="{9DE06A60-3F3B-4A72-A507-986D869A9C05}" type="presParOf" srcId="{42FEF03A-00A0-4071-B739-53FA548CC8CC}" destId="{EE7F5BC3-B754-4B73-AE6A-B6C5530861CA}" srcOrd="19" destOrd="0" presId="urn:microsoft.com/office/officeart/2008/layout/LinedList"/>
    <dgm:cxn modelId="{470142B4-89C5-4CB6-9850-0237C6DE83E1}" type="presParOf" srcId="{EE7F5BC3-B754-4B73-AE6A-B6C5530861CA}" destId="{A8C947CB-7FB3-4A37-AF3D-479EC291D120}" srcOrd="0" destOrd="0" presId="urn:microsoft.com/office/officeart/2008/layout/LinedList"/>
    <dgm:cxn modelId="{944FEBE3-3B91-4F41-8E8E-D0F552B1BF6A}" type="presParOf" srcId="{EE7F5BC3-B754-4B73-AE6A-B6C5530861CA}" destId="{C8EDFDBA-0AED-4FBE-8791-9A013D399D54}" srcOrd="1" destOrd="0" presId="urn:microsoft.com/office/officeart/2008/layout/LinedList"/>
    <dgm:cxn modelId="{D69F86B2-0094-4DFD-AE5B-EC1390F1588F}" type="presParOf" srcId="{EE7F5BC3-B754-4B73-AE6A-B6C5530861CA}" destId="{27EDD563-CDE8-4EF8-B36E-3D625D9C956C}" srcOrd="2" destOrd="0" presId="urn:microsoft.com/office/officeart/2008/layout/LinedList"/>
    <dgm:cxn modelId="{CDFCF589-3EAE-43AB-917B-9849E42752E1}" type="presParOf" srcId="{42FEF03A-00A0-4071-B739-53FA548CC8CC}" destId="{6D08BB01-0535-4B6D-85EB-1625BAD75230}" srcOrd="20" destOrd="0" presId="urn:microsoft.com/office/officeart/2008/layout/LinedList"/>
    <dgm:cxn modelId="{3D7B0B78-9454-4785-8C8A-F8425B70C654}" type="presParOf" srcId="{42FEF03A-00A0-4071-B739-53FA548CC8CC}" destId="{DE366E92-55F8-4A39-9095-74F7833F7D76}" srcOrd="2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2630AA2-07FB-40F1-9519-933B95CB692F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3939E67-A8B5-4D58-8B35-5730451386FE}">
      <dgm:prSet phldrT="[Text]"/>
      <dgm:spPr/>
      <dgm:t>
        <a:bodyPr/>
        <a:lstStyle/>
        <a:p>
          <a:r>
            <a:rPr lang="en-US" dirty="0" smtClean="0"/>
            <a:t>65% </a:t>
          </a:r>
          <a:endParaRPr lang="en-US" dirty="0"/>
        </a:p>
      </dgm:t>
    </dgm:pt>
    <dgm:pt modelId="{147F48CF-B635-4CBA-B948-25AB39A69B64}" type="parTrans" cxnId="{10C7E0C6-ABB1-43B9-A090-A303BB34B50A}">
      <dgm:prSet/>
      <dgm:spPr/>
      <dgm:t>
        <a:bodyPr/>
        <a:lstStyle/>
        <a:p>
          <a:endParaRPr lang="en-US"/>
        </a:p>
      </dgm:t>
    </dgm:pt>
    <dgm:pt modelId="{76F07894-C78B-4C7E-B2C0-ED1C05EAB92B}" type="sibTrans" cxnId="{10C7E0C6-ABB1-43B9-A090-A303BB34B50A}">
      <dgm:prSet/>
      <dgm:spPr/>
      <dgm:t>
        <a:bodyPr/>
        <a:lstStyle/>
        <a:p>
          <a:endParaRPr lang="en-US"/>
        </a:p>
      </dgm:t>
    </dgm:pt>
    <dgm:pt modelId="{98447789-9A56-43B6-86DE-9343F7BEDF9F}">
      <dgm:prSet phldrT="[Text]"/>
      <dgm:spPr/>
      <dgm:t>
        <a:bodyPr/>
        <a:lstStyle/>
        <a:p>
          <a:r>
            <a:rPr lang="en-US" dirty="0" smtClean="0"/>
            <a:t>Smartphone adoption is accelerating in developed countries .</a:t>
          </a:r>
          <a:endParaRPr lang="en-US" dirty="0"/>
        </a:p>
      </dgm:t>
    </dgm:pt>
    <dgm:pt modelId="{970F51D0-C898-4B93-9F24-BB802BFC57C6}" type="parTrans" cxnId="{E8711CEB-93CC-46BA-9E23-93918C21D9D1}">
      <dgm:prSet/>
      <dgm:spPr/>
      <dgm:t>
        <a:bodyPr/>
        <a:lstStyle/>
        <a:p>
          <a:endParaRPr lang="en-US"/>
        </a:p>
      </dgm:t>
    </dgm:pt>
    <dgm:pt modelId="{A14912B9-EFF9-4082-809E-8D84888A77B3}" type="sibTrans" cxnId="{E8711CEB-93CC-46BA-9E23-93918C21D9D1}">
      <dgm:prSet/>
      <dgm:spPr/>
      <dgm:t>
        <a:bodyPr/>
        <a:lstStyle/>
        <a:p>
          <a:endParaRPr lang="en-US"/>
        </a:p>
      </dgm:t>
    </dgm:pt>
    <dgm:pt modelId="{C77FA088-0E2E-46A6-AE7E-A38413C813ED}">
      <dgm:prSet phldrT="[Text]"/>
      <dgm:spPr/>
      <dgm:t>
        <a:bodyPr/>
        <a:lstStyle/>
        <a:p>
          <a:r>
            <a:rPr lang="en-US" dirty="0" smtClean="0"/>
            <a:t>40% </a:t>
          </a:r>
          <a:endParaRPr lang="en-US" dirty="0"/>
        </a:p>
      </dgm:t>
    </dgm:pt>
    <dgm:pt modelId="{E98FDEFE-FE0D-470A-A629-B5C411702391}" type="parTrans" cxnId="{223E1694-AAD1-411C-8906-B46ABDFBC045}">
      <dgm:prSet/>
      <dgm:spPr/>
      <dgm:t>
        <a:bodyPr/>
        <a:lstStyle/>
        <a:p>
          <a:endParaRPr lang="en-US"/>
        </a:p>
      </dgm:t>
    </dgm:pt>
    <dgm:pt modelId="{69F46604-0D6E-482C-90E3-D2D33376BEE2}" type="sibTrans" cxnId="{223E1694-AAD1-411C-8906-B46ABDFBC045}">
      <dgm:prSet/>
      <dgm:spPr/>
      <dgm:t>
        <a:bodyPr/>
        <a:lstStyle/>
        <a:p>
          <a:endParaRPr lang="en-US"/>
        </a:p>
      </dgm:t>
    </dgm:pt>
    <dgm:pt modelId="{BEA79143-67AA-402E-A16B-F472872BB656}">
      <dgm:prSet phldrT="[Text]"/>
      <dgm:spPr/>
      <dgm:t>
        <a:bodyPr/>
        <a:lstStyle/>
        <a:p>
          <a:r>
            <a:rPr lang="en-US" dirty="0" smtClean="0"/>
            <a:t>Smartphone adoption is Accelerating in developing countries. </a:t>
          </a:r>
          <a:endParaRPr lang="en-US" dirty="0"/>
        </a:p>
      </dgm:t>
    </dgm:pt>
    <dgm:pt modelId="{DD972680-D663-407B-9474-01CC5E4E2771}" type="parTrans" cxnId="{B4401AA4-522D-4472-B29E-AC0F207FD17F}">
      <dgm:prSet/>
      <dgm:spPr/>
      <dgm:t>
        <a:bodyPr/>
        <a:lstStyle/>
        <a:p>
          <a:endParaRPr lang="en-US"/>
        </a:p>
      </dgm:t>
    </dgm:pt>
    <dgm:pt modelId="{08C86576-019F-4951-B87E-24F9D383BB36}" type="sibTrans" cxnId="{B4401AA4-522D-4472-B29E-AC0F207FD17F}">
      <dgm:prSet/>
      <dgm:spPr/>
      <dgm:t>
        <a:bodyPr/>
        <a:lstStyle/>
        <a:p>
          <a:endParaRPr lang="en-US"/>
        </a:p>
      </dgm:t>
    </dgm:pt>
    <dgm:pt modelId="{14BFFA4A-E223-43D4-A1CE-583B72F5EAAF}">
      <dgm:prSet phldrT="[Text]"/>
      <dgm:spPr/>
      <dgm:t>
        <a:bodyPr/>
        <a:lstStyle/>
        <a:p>
          <a:r>
            <a:rPr lang="en-US" dirty="0" smtClean="0"/>
            <a:t>90%.  </a:t>
          </a:r>
          <a:endParaRPr lang="en-US" dirty="0"/>
        </a:p>
      </dgm:t>
    </dgm:pt>
    <dgm:pt modelId="{5A65D16B-CDBE-4352-AE0A-FE1D8B7AEE0F}" type="parTrans" cxnId="{37F6798F-83AE-4BBF-835F-596CA3FA9576}">
      <dgm:prSet/>
      <dgm:spPr/>
      <dgm:t>
        <a:bodyPr/>
        <a:lstStyle/>
        <a:p>
          <a:endParaRPr lang="en-US"/>
        </a:p>
      </dgm:t>
    </dgm:pt>
    <dgm:pt modelId="{D9A79F95-23D7-438B-9C71-196CF70B0C7E}" type="sibTrans" cxnId="{37F6798F-83AE-4BBF-835F-596CA3FA9576}">
      <dgm:prSet/>
      <dgm:spPr/>
      <dgm:t>
        <a:bodyPr/>
        <a:lstStyle/>
        <a:p>
          <a:endParaRPr lang="en-US"/>
        </a:p>
      </dgm:t>
    </dgm:pt>
    <dgm:pt modelId="{D5B6505A-200E-4622-B824-F997E64F5002}">
      <dgm:prSet phldrT="[Text]"/>
      <dgm:spPr/>
      <dgm:t>
        <a:bodyPr/>
        <a:lstStyle/>
        <a:p>
          <a:r>
            <a:rPr lang="en-US" dirty="0" smtClean="0"/>
            <a:t>Its potential to reach by 2020</a:t>
          </a:r>
          <a:endParaRPr lang="en-US" dirty="0"/>
        </a:p>
      </dgm:t>
    </dgm:pt>
    <dgm:pt modelId="{158BCC8B-62CF-413C-8740-6E5269244202}" type="parTrans" cxnId="{D0441013-A4C1-42DC-B329-065EF3FC1152}">
      <dgm:prSet/>
      <dgm:spPr/>
      <dgm:t>
        <a:bodyPr/>
        <a:lstStyle/>
        <a:p>
          <a:endParaRPr lang="en-US"/>
        </a:p>
      </dgm:t>
    </dgm:pt>
    <dgm:pt modelId="{DBD746A7-AD71-48E7-9638-D257BFF5F425}" type="sibTrans" cxnId="{D0441013-A4C1-42DC-B329-065EF3FC1152}">
      <dgm:prSet/>
      <dgm:spPr/>
      <dgm:t>
        <a:bodyPr/>
        <a:lstStyle/>
        <a:p>
          <a:endParaRPr lang="en-US"/>
        </a:p>
      </dgm:t>
    </dgm:pt>
    <dgm:pt modelId="{4E212B4E-4FD7-4E53-966D-FD656B3B64FD}" type="pres">
      <dgm:prSet presAssocID="{12630AA2-07FB-40F1-9519-933B95CB692F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9584C36-3786-433D-9E25-DD92AFF9E632}" type="pres">
      <dgm:prSet presAssocID="{C3939E67-A8B5-4D58-8B35-5730451386FE}" presName="composite" presStyleCnt="0"/>
      <dgm:spPr/>
    </dgm:pt>
    <dgm:pt modelId="{FA5BD724-6287-4796-BD21-F19E109E6FDE}" type="pres">
      <dgm:prSet presAssocID="{C3939E67-A8B5-4D58-8B35-5730451386FE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B10E991-1923-43FB-A6CA-15B183B448AC}" type="pres">
      <dgm:prSet presAssocID="{C3939E67-A8B5-4D58-8B35-5730451386FE}" presName="descendantText" presStyleLbl="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D02411A-2707-4EB3-BCF5-66440F81BA76}" type="pres">
      <dgm:prSet presAssocID="{76F07894-C78B-4C7E-B2C0-ED1C05EAB92B}" presName="sp" presStyleCnt="0"/>
      <dgm:spPr/>
    </dgm:pt>
    <dgm:pt modelId="{9846E997-8C2B-4C1D-A60D-76A4A265BD4C}" type="pres">
      <dgm:prSet presAssocID="{C77FA088-0E2E-46A6-AE7E-A38413C813ED}" presName="composite" presStyleCnt="0"/>
      <dgm:spPr/>
    </dgm:pt>
    <dgm:pt modelId="{87D7E0CB-2648-416D-91D7-4BCC2C3C31B9}" type="pres">
      <dgm:prSet presAssocID="{C77FA088-0E2E-46A6-AE7E-A38413C813ED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BF0FA4B-F6B0-4519-A474-67FCA9F30568}" type="pres">
      <dgm:prSet presAssocID="{C77FA088-0E2E-46A6-AE7E-A38413C813ED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1D7A8DD-3C3E-40FF-8CC0-F60513235ED8}" type="pres">
      <dgm:prSet presAssocID="{69F46604-0D6E-482C-90E3-D2D33376BEE2}" presName="sp" presStyleCnt="0"/>
      <dgm:spPr/>
    </dgm:pt>
    <dgm:pt modelId="{DB64E7C2-8BF6-4BA0-9402-C9CED30EEE0F}" type="pres">
      <dgm:prSet presAssocID="{14BFFA4A-E223-43D4-A1CE-583B72F5EAAF}" presName="composite" presStyleCnt="0"/>
      <dgm:spPr/>
    </dgm:pt>
    <dgm:pt modelId="{66F09F6A-B7CD-4822-A2CA-03FBB9ACF353}" type="pres">
      <dgm:prSet presAssocID="{14BFFA4A-E223-43D4-A1CE-583B72F5EAAF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CBFF8AB-6979-4698-B66C-B044A38DDE51}" type="pres">
      <dgm:prSet presAssocID="{14BFFA4A-E223-43D4-A1CE-583B72F5EAAF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D482512-2659-4B5A-A40A-D30B4CDD7F37}" type="presOf" srcId="{14BFFA4A-E223-43D4-A1CE-583B72F5EAAF}" destId="{66F09F6A-B7CD-4822-A2CA-03FBB9ACF353}" srcOrd="0" destOrd="0" presId="urn:microsoft.com/office/officeart/2005/8/layout/chevron2"/>
    <dgm:cxn modelId="{B4401AA4-522D-4472-B29E-AC0F207FD17F}" srcId="{C77FA088-0E2E-46A6-AE7E-A38413C813ED}" destId="{BEA79143-67AA-402E-A16B-F472872BB656}" srcOrd="0" destOrd="0" parTransId="{DD972680-D663-407B-9474-01CC5E4E2771}" sibTransId="{08C86576-019F-4951-B87E-24F9D383BB36}"/>
    <dgm:cxn modelId="{BBECF99C-8F03-4091-BB6D-243F800CE4B8}" type="presOf" srcId="{D5B6505A-200E-4622-B824-F997E64F5002}" destId="{ECBFF8AB-6979-4698-B66C-B044A38DDE51}" srcOrd="0" destOrd="0" presId="urn:microsoft.com/office/officeart/2005/8/layout/chevron2"/>
    <dgm:cxn modelId="{5B273F6E-0372-4EE0-B670-1AA7A6BD994E}" type="presOf" srcId="{BEA79143-67AA-402E-A16B-F472872BB656}" destId="{DBF0FA4B-F6B0-4519-A474-67FCA9F30568}" srcOrd="0" destOrd="0" presId="urn:microsoft.com/office/officeart/2005/8/layout/chevron2"/>
    <dgm:cxn modelId="{D0441013-A4C1-42DC-B329-065EF3FC1152}" srcId="{14BFFA4A-E223-43D4-A1CE-583B72F5EAAF}" destId="{D5B6505A-200E-4622-B824-F997E64F5002}" srcOrd="0" destOrd="0" parTransId="{158BCC8B-62CF-413C-8740-6E5269244202}" sibTransId="{DBD746A7-AD71-48E7-9638-D257BFF5F425}"/>
    <dgm:cxn modelId="{37F6798F-83AE-4BBF-835F-596CA3FA9576}" srcId="{12630AA2-07FB-40F1-9519-933B95CB692F}" destId="{14BFFA4A-E223-43D4-A1CE-583B72F5EAAF}" srcOrd="2" destOrd="0" parTransId="{5A65D16B-CDBE-4352-AE0A-FE1D8B7AEE0F}" sibTransId="{D9A79F95-23D7-438B-9C71-196CF70B0C7E}"/>
    <dgm:cxn modelId="{E8711CEB-93CC-46BA-9E23-93918C21D9D1}" srcId="{C3939E67-A8B5-4D58-8B35-5730451386FE}" destId="{98447789-9A56-43B6-86DE-9343F7BEDF9F}" srcOrd="0" destOrd="0" parTransId="{970F51D0-C898-4B93-9F24-BB802BFC57C6}" sibTransId="{A14912B9-EFF9-4082-809E-8D84888A77B3}"/>
    <dgm:cxn modelId="{932D052A-D014-48C0-A691-92832633C2B3}" type="presOf" srcId="{C3939E67-A8B5-4D58-8B35-5730451386FE}" destId="{FA5BD724-6287-4796-BD21-F19E109E6FDE}" srcOrd="0" destOrd="0" presId="urn:microsoft.com/office/officeart/2005/8/layout/chevron2"/>
    <dgm:cxn modelId="{057A647B-0443-4554-8CEC-7738144BFBD2}" type="presOf" srcId="{12630AA2-07FB-40F1-9519-933B95CB692F}" destId="{4E212B4E-4FD7-4E53-966D-FD656B3B64FD}" srcOrd="0" destOrd="0" presId="urn:microsoft.com/office/officeart/2005/8/layout/chevron2"/>
    <dgm:cxn modelId="{0E805BC6-365C-4515-95EF-D043467F3FF0}" type="presOf" srcId="{98447789-9A56-43B6-86DE-9343F7BEDF9F}" destId="{3B10E991-1923-43FB-A6CA-15B183B448AC}" srcOrd="0" destOrd="0" presId="urn:microsoft.com/office/officeart/2005/8/layout/chevron2"/>
    <dgm:cxn modelId="{10C7E0C6-ABB1-43B9-A090-A303BB34B50A}" srcId="{12630AA2-07FB-40F1-9519-933B95CB692F}" destId="{C3939E67-A8B5-4D58-8B35-5730451386FE}" srcOrd="0" destOrd="0" parTransId="{147F48CF-B635-4CBA-B948-25AB39A69B64}" sibTransId="{76F07894-C78B-4C7E-B2C0-ED1C05EAB92B}"/>
    <dgm:cxn modelId="{5B6B3231-0B57-46A4-B791-F2B1E69AF7AB}" type="presOf" srcId="{C77FA088-0E2E-46A6-AE7E-A38413C813ED}" destId="{87D7E0CB-2648-416D-91D7-4BCC2C3C31B9}" srcOrd="0" destOrd="0" presId="urn:microsoft.com/office/officeart/2005/8/layout/chevron2"/>
    <dgm:cxn modelId="{223E1694-AAD1-411C-8906-B46ABDFBC045}" srcId="{12630AA2-07FB-40F1-9519-933B95CB692F}" destId="{C77FA088-0E2E-46A6-AE7E-A38413C813ED}" srcOrd="1" destOrd="0" parTransId="{E98FDEFE-FE0D-470A-A629-B5C411702391}" sibTransId="{69F46604-0D6E-482C-90E3-D2D33376BEE2}"/>
    <dgm:cxn modelId="{07A7FA6A-8B77-4B14-8FC9-815AE106D7D0}" type="presParOf" srcId="{4E212B4E-4FD7-4E53-966D-FD656B3B64FD}" destId="{19584C36-3786-433D-9E25-DD92AFF9E632}" srcOrd="0" destOrd="0" presId="urn:microsoft.com/office/officeart/2005/8/layout/chevron2"/>
    <dgm:cxn modelId="{9B32763E-3827-44D0-B89B-06FEA6A7E1A3}" type="presParOf" srcId="{19584C36-3786-433D-9E25-DD92AFF9E632}" destId="{FA5BD724-6287-4796-BD21-F19E109E6FDE}" srcOrd="0" destOrd="0" presId="urn:microsoft.com/office/officeart/2005/8/layout/chevron2"/>
    <dgm:cxn modelId="{7DFACEFC-BB95-4AB9-82E9-1D908A4C7C9D}" type="presParOf" srcId="{19584C36-3786-433D-9E25-DD92AFF9E632}" destId="{3B10E991-1923-43FB-A6CA-15B183B448AC}" srcOrd="1" destOrd="0" presId="urn:microsoft.com/office/officeart/2005/8/layout/chevron2"/>
    <dgm:cxn modelId="{CA6ED2BA-9370-41D1-A70D-0A11C6A3F1EE}" type="presParOf" srcId="{4E212B4E-4FD7-4E53-966D-FD656B3B64FD}" destId="{DD02411A-2707-4EB3-BCF5-66440F81BA76}" srcOrd="1" destOrd="0" presId="urn:microsoft.com/office/officeart/2005/8/layout/chevron2"/>
    <dgm:cxn modelId="{AD46DFF7-ABF0-4D96-9D33-CE4A68E181D6}" type="presParOf" srcId="{4E212B4E-4FD7-4E53-966D-FD656B3B64FD}" destId="{9846E997-8C2B-4C1D-A60D-76A4A265BD4C}" srcOrd="2" destOrd="0" presId="urn:microsoft.com/office/officeart/2005/8/layout/chevron2"/>
    <dgm:cxn modelId="{E7342823-5FAF-4896-A87F-ACFB0568DCD5}" type="presParOf" srcId="{9846E997-8C2B-4C1D-A60D-76A4A265BD4C}" destId="{87D7E0CB-2648-416D-91D7-4BCC2C3C31B9}" srcOrd="0" destOrd="0" presId="urn:microsoft.com/office/officeart/2005/8/layout/chevron2"/>
    <dgm:cxn modelId="{014E52D6-3EDE-4BDA-8A49-63738E30A4E7}" type="presParOf" srcId="{9846E997-8C2B-4C1D-A60D-76A4A265BD4C}" destId="{DBF0FA4B-F6B0-4519-A474-67FCA9F30568}" srcOrd="1" destOrd="0" presId="urn:microsoft.com/office/officeart/2005/8/layout/chevron2"/>
    <dgm:cxn modelId="{BC9D6862-D5E9-470A-9BFF-FB2561496312}" type="presParOf" srcId="{4E212B4E-4FD7-4E53-966D-FD656B3B64FD}" destId="{F1D7A8DD-3C3E-40FF-8CC0-F60513235ED8}" srcOrd="3" destOrd="0" presId="urn:microsoft.com/office/officeart/2005/8/layout/chevron2"/>
    <dgm:cxn modelId="{65A220C0-A444-4289-BE9A-B9B7FF032371}" type="presParOf" srcId="{4E212B4E-4FD7-4E53-966D-FD656B3B64FD}" destId="{DB64E7C2-8BF6-4BA0-9402-C9CED30EEE0F}" srcOrd="4" destOrd="0" presId="urn:microsoft.com/office/officeart/2005/8/layout/chevron2"/>
    <dgm:cxn modelId="{0BD5717C-2F5E-4386-8475-31F1E1C32836}" type="presParOf" srcId="{DB64E7C2-8BF6-4BA0-9402-C9CED30EEE0F}" destId="{66F09F6A-B7CD-4822-A2CA-03FBB9ACF353}" srcOrd="0" destOrd="0" presId="urn:microsoft.com/office/officeart/2005/8/layout/chevron2"/>
    <dgm:cxn modelId="{E283EC82-F05E-4C40-8ABD-1F27B808654C}" type="presParOf" srcId="{DB64E7C2-8BF6-4BA0-9402-C9CED30EEE0F}" destId="{ECBFF8AB-6979-4698-B66C-B044A38DDE51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210B30A-7820-49C2-84E0-C6E3614D6F11}" type="doc">
      <dgm:prSet loTypeId="urn:microsoft.com/office/officeart/2005/8/layout/list1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FEB291D7-AACF-49AB-B6FB-E17F76675B64}">
      <dgm:prSet phldrT="[Text]" custT="1"/>
      <dgm:spPr/>
      <dgm:t>
        <a:bodyPr/>
        <a:lstStyle/>
        <a:p>
          <a:r>
            <a:rPr lang="en-US" sz="1400" dirty="0" smtClean="0"/>
            <a:t>What the current EPC architecture and its related issues?</a:t>
          </a:r>
          <a:endParaRPr lang="en-US" sz="1400" dirty="0"/>
        </a:p>
      </dgm:t>
    </dgm:pt>
    <dgm:pt modelId="{E1EFB3EB-E888-440C-AF3D-BECFF8AEF24D}" type="parTrans" cxnId="{B2F0758F-0C9A-4EBF-B06C-FDA9A4189398}">
      <dgm:prSet/>
      <dgm:spPr/>
      <dgm:t>
        <a:bodyPr/>
        <a:lstStyle/>
        <a:p>
          <a:endParaRPr lang="en-US"/>
        </a:p>
      </dgm:t>
    </dgm:pt>
    <dgm:pt modelId="{DDF38DA1-0882-412E-A014-8805090F937E}" type="sibTrans" cxnId="{B2F0758F-0C9A-4EBF-B06C-FDA9A4189398}">
      <dgm:prSet/>
      <dgm:spPr/>
      <dgm:t>
        <a:bodyPr/>
        <a:lstStyle/>
        <a:p>
          <a:endParaRPr lang="en-US"/>
        </a:p>
      </dgm:t>
    </dgm:pt>
    <dgm:pt modelId="{848C5CEB-5A9C-408F-A20D-7AD3C665E684}">
      <dgm:prSet custT="1"/>
      <dgm:spPr/>
      <dgm:t>
        <a:bodyPr/>
        <a:lstStyle/>
        <a:p>
          <a:r>
            <a:rPr lang="en-US" sz="1400" dirty="0" smtClean="0"/>
            <a:t>How to plan for NFV from business prospective considering the technical and financial aspects?</a:t>
          </a:r>
          <a:endParaRPr lang="en-US" sz="1400" dirty="0"/>
        </a:p>
      </dgm:t>
    </dgm:pt>
    <dgm:pt modelId="{C3234065-4C5B-44BC-90AA-243B2695B589}" type="parTrans" cxnId="{E4D21B16-CB61-4BF4-B2D8-DE0FD29A3493}">
      <dgm:prSet/>
      <dgm:spPr/>
      <dgm:t>
        <a:bodyPr/>
        <a:lstStyle/>
        <a:p>
          <a:endParaRPr lang="en-US"/>
        </a:p>
      </dgm:t>
    </dgm:pt>
    <dgm:pt modelId="{3F96824F-1764-4D56-8F45-EED82E8334F2}" type="sibTrans" cxnId="{E4D21B16-CB61-4BF4-B2D8-DE0FD29A3493}">
      <dgm:prSet/>
      <dgm:spPr/>
      <dgm:t>
        <a:bodyPr/>
        <a:lstStyle/>
        <a:p>
          <a:endParaRPr lang="en-US"/>
        </a:p>
      </dgm:t>
    </dgm:pt>
    <dgm:pt modelId="{BAC21053-D739-4182-8296-2E1CA2085B9A}">
      <dgm:prSet custT="1"/>
      <dgm:spPr/>
      <dgm:t>
        <a:bodyPr/>
        <a:lstStyle/>
        <a:p>
          <a:r>
            <a:rPr lang="en-US" sz="1400" dirty="0" smtClean="0"/>
            <a:t>What are the suitable management models to transform the legacy evolved packet core network to NFV?</a:t>
          </a:r>
          <a:endParaRPr lang="en-US" sz="1400" dirty="0"/>
        </a:p>
      </dgm:t>
    </dgm:pt>
    <dgm:pt modelId="{1D7EA76B-C9B2-4657-B7F3-894EBADC75EE}" type="parTrans" cxnId="{A64EF0C2-8159-49D4-A00B-92D15E8C38D6}">
      <dgm:prSet/>
      <dgm:spPr/>
      <dgm:t>
        <a:bodyPr/>
        <a:lstStyle/>
        <a:p>
          <a:endParaRPr lang="en-US"/>
        </a:p>
      </dgm:t>
    </dgm:pt>
    <dgm:pt modelId="{13186B44-2BF0-4B65-B1DC-4ADC7A251A0E}" type="sibTrans" cxnId="{A64EF0C2-8159-49D4-A00B-92D15E8C38D6}">
      <dgm:prSet/>
      <dgm:spPr/>
      <dgm:t>
        <a:bodyPr/>
        <a:lstStyle/>
        <a:p>
          <a:endParaRPr lang="en-US"/>
        </a:p>
      </dgm:t>
    </dgm:pt>
    <dgm:pt modelId="{52C5DE8E-3235-427D-8771-76D514532B30}">
      <dgm:prSet custT="1"/>
      <dgm:spPr/>
      <dgm:t>
        <a:bodyPr/>
        <a:lstStyle/>
        <a:p>
          <a:r>
            <a:rPr lang="en-US" sz="1400" dirty="0" smtClean="0"/>
            <a:t>How NFV will contribute in resources optimization in terms of cost and capacity?</a:t>
          </a:r>
          <a:endParaRPr lang="en-US" sz="1400" dirty="0"/>
        </a:p>
      </dgm:t>
    </dgm:pt>
    <dgm:pt modelId="{8AC9E57B-A43B-4D4C-92AC-3FFCA333A392}" type="parTrans" cxnId="{6C5F38BB-78D2-4C01-9FC6-BE827EDCD526}">
      <dgm:prSet/>
      <dgm:spPr/>
      <dgm:t>
        <a:bodyPr/>
        <a:lstStyle/>
        <a:p>
          <a:endParaRPr lang="en-US"/>
        </a:p>
      </dgm:t>
    </dgm:pt>
    <dgm:pt modelId="{340FF411-6850-4685-B244-F28FA9000CC0}" type="sibTrans" cxnId="{6C5F38BB-78D2-4C01-9FC6-BE827EDCD526}">
      <dgm:prSet/>
      <dgm:spPr/>
      <dgm:t>
        <a:bodyPr/>
        <a:lstStyle/>
        <a:p>
          <a:endParaRPr lang="en-US"/>
        </a:p>
      </dgm:t>
    </dgm:pt>
    <dgm:pt modelId="{2CC4E232-A5FA-404A-A587-9293A2F8D13E}">
      <dgm:prSet custT="1"/>
      <dgm:spPr/>
      <dgm:t>
        <a:bodyPr/>
        <a:lstStyle/>
        <a:p>
          <a:r>
            <a:rPr lang="en-US" sz="1400" dirty="0" smtClean="0"/>
            <a:t>What are the effects of NFV on overall KPIs that related to customer and mobile operators?</a:t>
          </a:r>
          <a:endParaRPr lang="en-US" sz="1400" dirty="0"/>
        </a:p>
      </dgm:t>
    </dgm:pt>
    <dgm:pt modelId="{E0A6EFA8-3CEB-4C4E-B928-698972762E2E}" type="parTrans" cxnId="{F29454CB-CDE5-498A-BC38-54FA711F02AA}">
      <dgm:prSet/>
      <dgm:spPr/>
      <dgm:t>
        <a:bodyPr/>
        <a:lstStyle/>
        <a:p>
          <a:endParaRPr lang="en-US"/>
        </a:p>
      </dgm:t>
    </dgm:pt>
    <dgm:pt modelId="{20A5A09D-8C42-4093-83FD-FA1D566907E2}" type="sibTrans" cxnId="{F29454CB-CDE5-498A-BC38-54FA711F02AA}">
      <dgm:prSet/>
      <dgm:spPr/>
      <dgm:t>
        <a:bodyPr/>
        <a:lstStyle/>
        <a:p>
          <a:endParaRPr lang="en-US"/>
        </a:p>
      </dgm:t>
    </dgm:pt>
    <dgm:pt modelId="{65AF9B36-409D-474B-A63A-C669708CBDE2}">
      <dgm:prSet custT="1"/>
      <dgm:spPr/>
      <dgm:t>
        <a:bodyPr/>
        <a:lstStyle/>
        <a:p>
          <a:r>
            <a:rPr lang="en-US" sz="1400" dirty="0" smtClean="0"/>
            <a:t>How security aspects will be addressed considering NFV?</a:t>
          </a:r>
          <a:endParaRPr lang="en-US" sz="1400" dirty="0"/>
        </a:p>
      </dgm:t>
    </dgm:pt>
    <dgm:pt modelId="{06BADBF0-BF06-4445-B531-F0CE87E5720E}" type="parTrans" cxnId="{B33CE7D9-1F8C-40D3-BF8F-D1A50261ACE7}">
      <dgm:prSet/>
      <dgm:spPr/>
      <dgm:t>
        <a:bodyPr/>
        <a:lstStyle/>
        <a:p>
          <a:endParaRPr lang="en-US"/>
        </a:p>
      </dgm:t>
    </dgm:pt>
    <dgm:pt modelId="{0822EA7B-F6AF-4B1D-BA5D-24E17FFB192E}" type="sibTrans" cxnId="{B33CE7D9-1F8C-40D3-BF8F-D1A50261ACE7}">
      <dgm:prSet/>
      <dgm:spPr/>
      <dgm:t>
        <a:bodyPr/>
        <a:lstStyle/>
        <a:p>
          <a:endParaRPr lang="en-US"/>
        </a:p>
      </dgm:t>
    </dgm:pt>
    <dgm:pt modelId="{13A9D2A8-457F-4242-8FE3-20E2A90C43F9}">
      <dgm:prSet custT="1"/>
      <dgm:spPr/>
      <dgm:t>
        <a:bodyPr/>
        <a:lstStyle/>
        <a:p>
          <a:r>
            <a:rPr lang="en-US" sz="1400" dirty="0" smtClean="0"/>
            <a:t>How NFV will help in time to market in introducing new technologies?</a:t>
          </a:r>
          <a:endParaRPr lang="en-US" sz="1400" dirty="0"/>
        </a:p>
      </dgm:t>
    </dgm:pt>
    <dgm:pt modelId="{6CBB9A77-7F39-437A-A110-E3E4671B8CBD}" type="parTrans" cxnId="{580F019C-C2A6-4A79-85C6-1E32C8BBEDEF}">
      <dgm:prSet/>
      <dgm:spPr/>
      <dgm:t>
        <a:bodyPr/>
        <a:lstStyle/>
        <a:p>
          <a:endParaRPr lang="en-US"/>
        </a:p>
      </dgm:t>
    </dgm:pt>
    <dgm:pt modelId="{C1970928-1BCF-431F-A494-CF500BB66369}" type="sibTrans" cxnId="{580F019C-C2A6-4A79-85C6-1E32C8BBEDEF}">
      <dgm:prSet/>
      <dgm:spPr/>
      <dgm:t>
        <a:bodyPr/>
        <a:lstStyle/>
        <a:p>
          <a:endParaRPr lang="en-US"/>
        </a:p>
      </dgm:t>
    </dgm:pt>
    <dgm:pt modelId="{90D01A7D-A3E9-48A4-BDBC-052A486A07DD}">
      <dgm:prSet custT="1"/>
      <dgm:spPr/>
      <dgm:t>
        <a:bodyPr/>
        <a:lstStyle/>
        <a:p>
          <a:r>
            <a:rPr lang="en-US" sz="1400" dirty="0" smtClean="0"/>
            <a:t>What the considerations that shall be taken in account in deploying Virtualized EPC commercially?</a:t>
          </a:r>
          <a:endParaRPr lang="en-US" sz="1400" dirty="0"/>
        </a:p>
      </dgm:t>
    </dgm:pt>
    <dgm:pt modelId="{9F4D0E08-1E47-4770-ADE8-DC89E1D68C83}" type="parTrans" cxnId="{E3A1F2D5-35E3-4550-A876-616DE801CB14}">
      <dgm:prSet/>
      <dgm:spPr/>
      <dgm:t>
        <a:bodyPr/>
        <a:lstStyle/>
        <a:p>
          <a:endParaRPr lang="en-US"/>
        </a:p>
      </dgm:t>
    </dgm:pt>
    <dgm:pt modelId="{440CFADA-610F-4BC5-AFF2-C69E1D9E2D20}" type="sibTrans" cxnId="{E3A1F2D5-35E3-4550-A876-616DE801CB14}">
      <dgm:prSet/>
      <dgm:spPr/>
      <dgm:t>
        <a:bodyPr/>
        <a:lstStyle/>
        <a:p>
          <a:endParaRPr lang="en-US"/>
        </a:p>
      </dgm:t>
    </dgm:pt>
    <dgm:pt modelId="{AA0C009D-3EF9-4958-A263-34F740188E69}" type="pres">
      <dgm:prSet presAssocID="{8210B30A-7820-49C2-84E0-C6E3614D6F11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C497EB9-3673-4CF3-9589-75BEF0F56BA6}" type="pres">
      <dgm:prSet presAssocID="{FEB291D7-AACF-49AB-B6FB-E17F76675B64}" presName="parentLin" presStyleCnt="0"/>
      <dgm:spPr/>
    </dgm:pt>
    <dgm:pt modelId="{CF176F1E-D9C2-40CE-AC8A-5D99AD7BB9BE}" type="pres">
      <dgm:prSet presAssocID="{FEB291D7-AACF-49AB-B6FB-E17F76675B64}" presName="parentLeftMargin" presStyleLbl="node1" presStyleIdx="0" presStyleCnt="8"/>
      <dgm:spPr/>
      <dgm:t>
        <a:bodyPr/>
        <a:lstStyle/>
        <a:p>
          <a:endParaRPr lang="en-US"/>
        </a:p>
      </dgm:t>
    </dgm:pt>
    <dgm:pt modelId="{E4836250-0738-4114-9B13-6685CCF81A89}" type="pres">
      <dgm:prSet presAssocID="{FEB291D7-AACF-49AB-B6FB-E17F76675B64}" presName="parentText" presStyleLbl="node1" presStyleIdx="0" presStyleCnt="8" custScaleY="236066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756D488-C156-47EA-B974-CBA1D7649494}" type="pres">
      <dgm:prSet presAssocID="{FEB291D7-AACF-49AB-B6FB-E17F76675B64}" presName="negativeSpace" presStyleCnt="0"/>
      <dgm:spPr/>
    </dgm:pt>
    <dgm:pt modelId="{C02A4FEF-ADB8-4C7A-A182-0B7BE5EBF83E}" type="pres">
      <dgm:prSet presAssocID="{FEB291D7-AACF-49AB-B6FB-E17F76675B64}" presName="childText" presStyleLbl="conFgAcc1" presStyleIdx="0" presStyleCnt="8">
        <dgm:presLayoutVars>
          <dgm:bulletEnabled val="1"/>
        </dgm:presLayoutVars>
      </dgm:prSet>
      <dgm:spPr/>
    </dgm:pt>
    <dgm:pt modelId="{307C5B59-AE36-45FA-B0A9-60D8E1E23754}" type="pres">
      <dgm:prSet presAssocID="{DDF38DA1-0882-412E-A014-8805090F937E}" presName="spaceBetweenRectangles" presStyleCnt="0"/>
      <dgm:spPr/>
    </dgm:pt>
    <dgm:pt modelId="{780124A6-6C10-4144-9EEC-AF0F6A220556}" type="pres">
      <dgm:prSet presAssocID="{848C5CEB-5A9C-408F-A20D-7AD3C665E684}" presName="parentLin" presStyleCnt="0"/>
      <dgm:spPr/>
    </dgm:pt>
    <dgm:pt modelId="{94442A78-919C-400B-8879-76A1A55D5D13}" type="pres">
      <dgm:prSet presAssocID="{848C5CEB-5A9C-408F-A20D-7AD3C665E684}" presName="parentLeftMargin" presStyleLbl="node1" presStyleIdx="0" presStyleCnt="8"/>
      <dgm:spPr/>
      <dgm:t>
        <a:bodyPr/>
        <a:lstStyle/>
        <a:p>
          <a:endParaRPr lang="en-US"/>
        </a:p>
      </dgm:t>
    </dgm:pt>
    <dgm:pt modelId="{E31DB21C-402A-4E13-89A3-5560FFAA333B}" type="pres">
      <dgm:prSet presAssocID="{848C5CEB-5A9C-408F-A20D-7AD3C665E684}" presName="parentText" presStyleLbl="node1" presStyleIdx="1" presStyleCnt="8" custScaleY="236066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936B764-63C4-4634-9A31-EC451853CF56}" type="pres">
      <dgm:prSet presAssocID="{848C5CEB-5A9C-408F-A20D-7AD3C665E684}" presName="negativeSpace" presStyleCnt="0"/>
      <dgm:spPr/>
    </dgm:pt>
    <dgm:pt modelId="{9B3DDBB6-1345-48E9-B014-59C24B917B88}" type="pres">
      <dgm:prSet presAssocID="{848C5CEB-5A9C-408F-A20D-7AD3C665E684}" presName="childText" presStyleLbl="conFgAcc1" presStyleIdx="1" presStyleCnt="8">
        <dgm:presLayoutVars>
          <dgm:bulletEnabled val="1"/>
        </dgm:presLayoutVars>
      </dgm:prSet>
      <dgm:spPr/>
    </dgm:pt>
    <dgm:pt modelId="{7F3C02A5-EDB3-4C96-A8E6-9457B096900D}" type="pres">
      <dgm:prSet presAssocID="{3F96824F-1764-4D56-8F45-EED82E8334F2}" presName="spaceBetweenRectangles" presStyleCnt="0"/>
      <dgm:spPr/>
    </dgm:pt>
    <dgm:pt modelId="{2DB681F4-5B09-45C0-A29E-935DF8E47341}" type="pres">
      <dgm:prSet presAssocID="{BAC21053-D739-4182-8296-2E1CA2085B9A}" presName="parentLin" presStyleCnt="0"/>
      <dgm:spPr/>
    </dgm:pt>
    <dgm:pt modelId="{38169346-ADE7-487E-A845-D7C39528A423}" type="pres">
      <dgm:prSet presAssocID="{BAC21053-D739-4182-8296-2E1CA2085B9A}" presName="parentLeftMargin" presStyleLbl="node1" presStyleIdx="1" presStyleCnt="8"/>
      <dgm:spPr/>
      <dgm:t>
        <a:bodyPr/>
        <a:lstStyle/>
        <a:p>
          <a:endParaRPr lang="en-US"/>
        </a:p>
      </dgm:t>
    </dgm:pt>
    <dgm:pt modelId="{81C22531-C9CA-4825-ADC5-7FCAAEC32B93}" type="pres">
      <dgm:prSet presAssocID="{BAC21053-D739-4182-8296-2E1CA2085B9A}" presName="parentText" presStyleLbl="node1" presStyleIdx="2" presStyleCnt="8" custScaleY="236066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B10A9BD-5420-4246-8DBC-670084069BFB}" type="pres">
      <dgm:prSet presAssocID="{BAC21053-D739-4182-8296-2E1CA2085B9A}" presName="negativeSpace" presStyleCnt="0"/>
      <dgm:spPr/>
    </dgm:pt>
    <dgm:pt modelId="{55CD628D-4FE9-49CC-9C7B-AA59F6B97B8A}" type="pres">
      <dgm:prSet presAssocID="{BAC21053-D739-4182-8296-2E1CA2085B9A}" presName="childText" presStyleLbl="conFgAcc1" presStyleIdx="2" presStyleCnt="8">
        <dgm:presLayoutVars>
          <dgm:bulletEnabled val="1"/>
        </dgm:presLayoutVars>
      </dgm:prSet>
      <dgm:spPr/>
    </dgm:pt>
    <dgm:pt modelId="{1C42C785-148F-4447-9C1E-B67ECE1D6A73}" type="pres">
      <dgm:prSet presAssocID="{13186B44-2BF0-4B65-B1DC-4ADC7A251A0E}" presName="spaceBetweenRectangles" presStyleCnt="0"/>
      <dgm:spPr/>
    </dgm:pt>
    <dgm:pt modelId="{3A6D7346-9B07-4CE5-A6E0-040463C28EC1}" type="pres">
      <dgm:prSet presAssocID="{52C5DE8E-3235-427D-8771-76D514532B30}" presName="parentLin" presStyleCnt="0"/>
      <dgm:spPr/>
    </dgm:pt>
    <dgm:pt modelId="{219B9ACF-B21E-4029-A52A-CA3D85972D2A}" type="pres">
      <dgm:prSet presAssocID="{52C5DE8E-3235-427D-8771-76D514532B30}" presName="parentLeftMargin" presStyleLbl="node1" presStyleIdx="2" presStyleCnt="8"/>
      <dgm:spPr/>
      <dgm:t>
        <a:bodyPr/>
        <a:lstStyle/>
        <a:p>
          <a:endParaRPr lang="en-US"/>
        </a:p>
      </dgm:t>
    </dgm:pt>
    <dgm:pt modelId="{F1A6291D-7609-4899-80ED-930698DBFE64}" type="pres">
      <dgm:prSet presAssocID="{52C5DE8E-3235-427D-8771-76D514532B30}" presName="parentText" presStyleLbl="node1" presStyleIdx="3" presStyleCnt="8" custScaleY="236066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34BB1A0-5B1F-4D3F-9AC6-46509D2D5C5C}" type="pres">
      <dgm:prSet presAssocID="{52C5DE8E-3235-427D-8771-76D514532B30}" presName="negativeSpace" presStyleCnt="0"/>
      <dgm:spPr/>
    </dgm:pt>
    <dgm:pt modelId="{D3FFC89D-478C-46E7-9455-FB5B41AD876C}" type="pres">
      <dgm:prSet presAssocID="{52C5DE8E-3235-427D-8771-76D514532B30}" presName="childText" presStyleLbl="conFgAcc1" presStyleIdx="3" presStyleCnt="8">
        <dgm:presLayoutVars>
          <dgm:bulletEnabled val="1"/>
        </dgm:presLayoutVars>
      </dgm:prSet>
      <dgm:spPr/>
    </dgm:pt>
    <dgm:pt modelId="{4F3D8D84-BED4-43E2-9E64-D62B59AB49CB}" type="pres">
      <dgm:prSet presAssocID="{340FF411-6850-4685-B244-F28FA9000CC0}" presName="spaceBetweenRectangles" presStyleCnt="0"/>
      <dgm:spPr/>
    </dgm:pt>
    <dgm:pt modelId="{D4DF5C96-5755-413F-8C2C-C87711DE3743}" type="pres">
      <dgm:prSet presAssocID="{2CC4E232-A5FA-404A-A587-9293A2F8D13E}" presName="parentLin" presStyleCnt="0"/>
      <dgm:spPr/>
    </dgm:pt>
    <dgm:pt modelId="{1BE73B6D-8C20-4357-93F8-8634D610FAB6}" type="pres">
      <dgm:prSet presAssocID="{2CC4E232-A5FA-404A-A587-9293A2F8D13E}" presName="parentLeftMargin" presStyleLbl="node1" presStyleIdx="3" presStyleCnt="8"/>
      <dgm:spPr/>
      <dgm:t>
        <a:bodyPr/>
        <a:lstStyle/>
        <a:p>
          <a:endParaRPr lang="en-US"/>
        </a:p>
      </dgm:t>
    </dgm:pt>
    <dgm:pt modelId="{0A148633-50FB-4E8B-ADFF-6E46A9CF42C8}" type="pres">
      <dgm:prSet presAssocID="{2CC4E232-A5FA-404A-A587-9293A2F8D13E}" presName="parentText" presStyleLbl="node1" presStyleIdx="4" presStyleCnt="8" custScaleY="236066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1EDFE3B-B2EC-4AA1-8BC7-10330B934404}" type="pres">
      <dgm:prSet presAssocID="{2CC4E232-A5FA-404A-A587-9293A2F8D13E}" presName="negativeSpace" presStyleCnt="0"/>
      <dgm:spPr/>
    </dgm:pt>
    <dgm:pt modelId="{BB128A51-2C32-418B-9BAA-649B951D00BF}" type="pres">
      <dgm:prSet presAssocID="{2CC4E232-A5FA-404A-A587-9293A2F8D13E}" presName="childText" presStyleLbl="conFgAcc1" presStyleIdx="4" presStyleCnt="8">
        <dgm:presLayoutVars>
          <dgm:bulletEnabled val="1"/>
        </dgm:presLayoutVars>
      </dgm:prSet>
      <dgm:spPr/>
    </dgm:pt>
    <dgm:pt modelId="{3196FCB3-C713-4EA9-866C-2F18AE9B9DAD}" type="pres">
      <dgm:prSet presAssocID="{20A5A09D-8C42-4093-83FD-FA1D566907E2}" presName="spaceBetweenRectangles" presStyleCnt="0"/>
      <dgm:spPr/>
    </dgm:pt>
    <dgm:pt modelId="{672BB916-0A74-4422-9F1F-2E2392C2181D}" type="pres">
      <dgm:prSet presAssocID="{65AF9B36-409D-474B-A63A-C669708CBDE2}" presName="parentLin" presStyleCnt="0"/>
      <dgm:spPr/>
    </dgm:pt>
    <dgm:pt modelId="{31AD7474-67FF-4324-AF19-696CBF150FFB}" type="pres">
      <dgm:prSet presAssocID="{65AF9B36-409D-474B-A63A-C669708CBDE2}" presName="parentLeftMargin" presStyleLbl="node1" presStyleIdx="4" presStyleCnt="8"/>
      <dgm:spPr/>
      <dgm:t>
        <a:bodyPr/>
        <a:lstStyle/>
        <a:p>
          <a:endParaRPr lang="en-US"/>
        </a:p>
      </dgm:t>
    </dgm:pt>
    <dgm:pt modelId="{0901935B-B69D-474A-83B5-FFFAFB62B401}" type="pres">
      <dgm:prSet presAssocID="{65AF9B36-409D-474B-A63A-C669708CBDE2}" presName="parentText" presStyleLbl="node1" presStyleIdx="5" presStyleCnt="8" custScaleY="236066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CDA0280-2486-422A-9937-4215B5EB0BE7}" type="pres">
      <dgm:prSet presAssocID="{65AF9B36-409D-474B-A63A-C669708CBDE2}" presName="negativeSpace" presStyleCnt="0"/>
      <dgm:spPr/>
    </dgm:pt>
    <dgm:pt modelId="{DE6D102D-7E84-49E2-9627-B37BA8E96ADE}" type="pres">
      <dgm:prSet presAssocID="{65AF9B36-409D-474B-A63A-C669708CBDE2}" presName="childText" presStyleLbl="conFgAcc1" presStyleIdx="5" presStyleCnt="8">
        <dgm:presLayoutVars>
          <dgm:bulletEnabled val="1"/>
        </dgm:presLayoutVars>
      </dgm:prSet>
      <dgm:spPr/>
    </dgm:pt>
    <dgm:pt modelId="{D8701CB0-380D-4FD0-B4C7-26B104D45139}" type="pres">
      <dgm:prSet presAssocID="{0822EA7B-F6AF-4B1D-BA5D-24E17FFB192E}" presName="spaceBetweenRectangles" presStyleCnt="0"/>
      <dgm:spPr/>
    </dgm:pt>
    <dgm:pt modelId="{A0CDD705-1452-43FB-BB7B-FAE0851D4052}" type="pres">
      <dgm:prSet presAssocID="{13A9D2A8-457F-4242-8FE3-20E2A90C43F9}" presName="parentLin" presStyleCnt="0"/>
      <dgm:spPr/>
    </dgm:pt>
    <dgm:pt modelId="{849D3F0E-3AFB-4D51-8B4F-D6BFB74E6A12}" type="pres">
      <dgm:prSet presAssocID="{13A9D2A8-457F-4242-8FE3-20E2A90C43F9}" presName="parentLeftMargin" presStyleLbl="node1" presStyleIdx="5" presStyleCnt="8"/>
      <dgm:spPr/>
      <dgm:t>
        <a:bodyPr/>
        <a:lstStyle/>
        <a:p>
          <a:endParaRPr lang="en-US"/>
        </a:p>
      </dgm:t>
    </dgm:pt>
    <dgm:pt modelId="{98201A42-145D-49B6-99DF-EDD0F018D922}" type="pres">
      <dgm:prSet presAssocID="{13A9D2A8-457F-4242-8FE3-20E2A90C43F9}" presName="parentText" presStyleLbl="node1" presStyleIdx="6" presStyleCnt="8" custScaleY="236066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682766F-B8B6-4704-948B-E83B1D434C68}" type="pres">
      <dgm:prSet presAssocID="{13A9D2A8-457F-4242-8FE3-20E2A90C43F9}" presName="negativeSpace" presStyleCnt="0"/>
      <dgm:spPr/>
    </dgm:pt>
    <dgm:pt modelId="{4A9EEFC3-3339-4EEE-8CD6-E8E4982536B0}" type="pres">
      <dgm:prSet presAssocID="{13A9D2A8-457F-4242-8FE3-20E2A90C43F9}" presName="childText" presStyleLbl="conFgAcc1" presStyleIdx="6" presStyleCnt="8">
        <dgm:presLayoutVars>
          <dgm:bulletEnabled val="1"/>
        </dgm:presLayoutVars>
      </dgm:prSet>
      <dgm:spPr/>
    </dgm:pt>
    <dgm:pt modelId="{260BC6CD-8777-49BC-9135-90369FFFCF94}" type="pres">
      <dgm:prSet presAssocID="{C1970928-1BCF-431F-A494-CF500BB66369}" presName="spaceBetweenRectangles" presStyleCnt="0"/>
      <dgm:spPr/>
    </dgm:pt>
    <dgm:pt modelId="{05D25277-C18C-4681-B46E-D95E7D00B4DF}" type="pres">
      <dgm:prSet presAssocID="{90D01A7D-A3E9-48A4-BDBC-052A486A07DD}" presName="parentLin" presStyleCnt="0"/>
      <dgm:spPr/>
    </dgm:pt>
    <dgm:pt modelId="{9E9B59BC-CCF7-4452-8E12-A9C01DBBB49E}" type="pres">
      <dgm:prSet presAssocID="{90D01A7D-A3E9-48A4-BDBC-052A486A07DD}" presName="parentLeftMargin" presStyleLbl="node1" presStyleIdx="6" presStyleCnt="8"/>
      <dgm:spPr/>
      <dgm:t>
        <a:bodyPr/>
        <a:lstStyle/>
        <a:p>
          <a:endParaRPr lang="en-US"/>
        </a:p>
      </dgm:t>
    </dgm:pt>
    <dgm:pt modelId="{2BF60A6A-753A-4539-9D31-7BB691BDADC6}" type="pres">
      <dgm:prSet presAssocID="{90D01A7D-A3E9-48A4-BDBC-052A486A07DD}" presName="parentText" presStyleLbl="node1" presStyleIdx="7" presStyleCnt="8" custScaleY="236066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EBD39F8-A8A2-4443-B0D8-BEC89C81D7D8}" type="pres">
      <dgm:prSet presAssocID="{90D01A7D-A3E9-48A4-BDBC-052A486A07DD}" presName="negativeSpace" presStyleCnt="0"/>
      <dgm:spPr/>
    </dgm:pt>
    <dgm:pt modelId="{3711419E-36A0-4304-AB40-15942D8004A1}" type="pres">
      <dgm:prSet presAssocID="{90D01A7D-A3E9-48A4-BDBC-052A486A07DD}" presName="childText" presStyleLbl="conFgAcc1" presStyleIdx="7" presStyleCnt="8">
        <dgm:presLayoutVars>
          <dgm:bulletEnabled val="1"/>
        </dgm:presLayoutVars>
      </dgm:prSet>
      <dgm:spPr/>
    </dgm:pt>
  </dgm:ptLst>
  <dgm:cxnLst>
    <dgm:cxn modelId="{509DF6F9-3414-4018-B807-FA19E2B3EEF0}" type="presOf" srcId="{13A9D2A8-457F-4242-8FE3-20E2A90C43F9}" destId="{98201A42-145D-49B6-99DF-EDD0F018D922}" srcOrd="1" destOrd="0" presId="urn:microsoft.com/office/officeart/2005/8/layout/list1"/>
    <dgm:cxn modelId="{6DFF66C0-5482-4482-AC91-182D26EAD1C7}" type="presOf" srcId="{848C5CEB-5A9C-408F-A20D-7AD3C665E684}" destId="{E31DB21C-402A-4E13-89A3-5560FFAA333B}" srcOrd="1" destOrd="0" presId="urn:microsoft.com/office/officeart/2005/8/layout/list1"/>
    <dgm:cxn modelId="{1AD6B898-BB65-4455-BD86-7E9EC3146AC3}" type="presOf" srcId="{BAC21053-D739-4182-8296-2E1CA2085B9A}" destId="{38169346-ADE7-487E-A845-D7C39528A423}" srcOrd="0" destOrd="0" presId="urn:microsoft.com/office/officeart/2005/8/layout/list1"/>
    <dgm:cxn modelId="{B33CE7D9-1F8C-40D3-BF8F-D1A50261ACE7}" srcId="{8210B30A-7820-49C2-84E0-C6E3614D6F11}" destId="{65AF9B36-409D-474B-A63A-C669708CBDE2}" srcOrd="5" destOrd="0" parTransId="{06BADBF0-BF06-4445-B531-F0CE87E5720E}" sibTransId="{0822EA7B-F6AF-4B1D-BA5D-24E17FFB192E}"/>
    <dgm:cxn modelId="{187A3EA2-B3CE-431C-9267-FE9C541A8738}" type="presOf" srcId="{8210B30A-7820-49C2-84E0-C6E3614D6F11}" destId="{AA0C009D-3EF9-4958-A263-34F740188E69}" srcOrd="0" destOrd="0" presId="urn:microsoft.com/office/officeart/2005/8/layout/list1"/>
    <dgm:cxn modelId="{B608AB91-EA98-4087-BDF2-E023C35D21BD}" type="presOf" srcId="{52C5DE8E-3235-427D-8771-76D514532B30}" destId="{F1A6291D-7609-4899-80ED-930698DBFE64}" srcOrd="1" destOrd="0" presId="urn:microsoft.com/office/officeart/2005/8/layout/list1"/>
    <dgm:cxn modelId="{D9F0BB31-C1CC-43DF-968A-36A77E10A604}" type="presOf" srcId="{2CC4E232-A5FA-404A-A587-9293A2F8D13E}" destId="{1BE73B6D-8C20-4357-93F8-8634D610FAB6}" srcOrd="0" destOrd="0" presId="urn:microsoft.com/office/officeart/2005/8/layout/list1"/>
    <dgm:cxn modelId="{1A9FE461-2230-4016-BAF7-CA96A3EDC97C}" type="presOf" srcId="{848C5CEB-5A9C-408F-A20D-7AD3C665E684}" destId="{94442A78-919C-400B-8879-76A1A55D5D13}" srcOrd="0" destOrd="0" presId="urn:microsoft.com/office/officeart/2005/8/layout/list1"/>
    <dgm:cxn modelId="{38A65C15-8D3C-4DFD-B3CB-8F1D2A6C879B}" type="presOf" srcId="{90D01A7D-A3E9-48A4-BDBC-052A486A07DD}" destId="{2BF60A6A-753A-4539-9D31-7BB691BDADC6}" srcOrd="1" destOrd="0" presId="urn:microsoft.com/office/officeart/2005/8/layout/list1"/>
    <dgm:cxn modelId="{E3A1F2D5-35E3-4550-A876-616DE801CB14}" srcId="{8210B30A-7820-49C2-84E0-C6E3614D6F11}" destId="{90D01A7D-A3E9-48A4-BDBC-052A486A07DD}" srcOrd="7" destOrd="0" parTransId="{9F4D0E08-1E47-4770-ADE8-DC89E1D68C83}" sibTransId="{440CFADA-610F-4BC5-AFF2-C69E1D9E2D20}"/>
    <dgm:cxn modelId="{A64EF0C2-8159-49D4-A00B-92D15E8C38D6}" srcId="{8210B30A-7820-49C2-84E0-C6E3614D6F11}" destId="{BAC21053-D739-4182-8296-2E1CA2085B9A}" srcOrd="2" destOrd="0" parTransId="{1D7EA76B-C9B2-4657-B7F3-894EBADC75EE}" sibTransId="{13186B44-2BF0-4B65-B1DC-4ADC7A251A0E}"/>
    <dgm:cxn modelId="{43B38CC4-DA99-4164-84FD-211DB3B19405}" type="presOf" srcId="{65AF9B36-409D-474B-A63A-C669708CBDE2}" destId="{0901935B-B69D-474A-83B5-FFFAFB62B401}" srcOrd="1" destOrd="0" presId="urn:microsoft.com/office/officeart/2005/8/layout/list1"/>
    <dgm:cxn modelId="{79312EA2-5B71-42D4-B0FE-7257F81A3F47}" type="presOf" srcId="{BAC21053-D739-4182-8296-2E1CA2085B9A}" destId="{81C22531-C9CA-4825-ADC5-7FCAAEC32B93}" srcOrd="1" destOrd="0" presId="urn:microsoft.com/office/officeart/2005/8/layout/list1"/>
    <dgm:cxn modelId="{6C5F38BB-78D2-4C01-9FC6-BE827EDCD526}" srcId="{8210B30A-7820-49C2-84E0-C6E3614D6F11}" destId="{52C5DE8E-3235-427D-8771-76D514532B30}" srcOrd="3" destOrd="0" parTransId="{8AC9E57B-A43B-4D4C-92AC-3FFCA333A392}" sibTransId="{340FF411-6850-4685-B244-F28FA9000CC0}"/>
    <dgm:cxn modelId="{8E539386-5369-4A80-9880-C20B5C47B006}" type="presOf" srcId="{90D01A7D-A3E9-48A4-BDBC-052A486A07DD}" destId="{9E9B59BC-CCF7-4452-8E12-A9C01DBBB49E}" srcOrd="0" destOrd="0" presId="urn:microsoft.com/office/officeart/2005/8/layout/list1"/>
    <dgm:cxn modelId="{F35C6339-C067-40DF-A9A3-A6B453EE6271}" type="presOf" srcId="{13A9D2A8-457F-4242-8FE3-20E2A90C43F9}" destId="{849D3F0E-3AFB-4D51-8B4F-D6BFB74E6A12}" srcOrd="0" destOrd="0" presId="urn:microsoft.com/office/officeart/2005/8/layout/list1"/>
    <dgm:cxn modelId="{83BC49D6-87F0-4E6F-9566-8EF57C13E7AB}" type="presOf" srcId="{2CC4E232-A5FA-404A-A587-9293A2F8D13E}" destId="{0A148633-50FB-4E8B-ADFF-6E46A9CF42C8}" srcOrd="1" destOrd="0" presId="urn:microsoft.com/office/officeart/2005/8/layout/list1"/>
    <dgm:cxn modelId="{7032A536-4500-41E3-81D5-FF34538BB9FD}" type="presOf" srcId="{FEB291D7-AACF-49AB-B6FB-E17F76675B64}" destId="{CF176F1E-D9C2-40CE-AC8A-5D99AD7BB9BE}" srcOrd="0" destOrd="0" presId="urn:microsoft.com/office/officeart/2005/8/layout/list1"/>
    <dgm:cxn modelId="{580F019C-C2A6-4A79-85C6-1E32C8BBEDEF}" srcId="{8210B30A-7820-49C2-84E0-C6E3614D6F11}" destId="{13A9D2A8-457F-4242-8FE3-20E2A90C43F9}" srcOrd="6" destOrd="0" parTransId="{6CBB9A77-7F39-437A-A110-E3E4671B8CBD}" sibTransId="{C1970928-1BCF-431F-A494-CF500BB66369}"/>
    <dgm:cxn modelId="{B2F0758F-0C9A-4EBF-B06C-FDA9A4189398}" srcId="{8210B30A-7820-49C2-84E0-C6E3614D6F11}" destId="{FEB291D7-AACF-49AB-B6FB-E17F76675B64}" srcOrd="0" destOrd="0" parTransId="{E1EFB3EB-E888-440C-AF3D-BECFF8AEF24D}" sibTransId="{DDF38DA1-0882-412E-A014-8805090F937E}"/>
    <dgm:cxn modelId="{E4D21B16-CB61-4BF4-B2D8-DE0FD29A3493}" srcId="{8210B30A-7820-49C2-84E0-C6E3614D6F11}" destId="{848C5CEB-5A9C-408F-A20D-7AD3C665E684}" srcOrd="1" destOrd="0" parTransId="{C3234065-4C5B-44BC-90AA-243B2695B589}" sibTransId="{3F96824F-1764-4D56-8F45-EED82E8334F2}"/>
    <dgm:cxn modelId="{F29454CB-CDE5-498A-BC38-54FA711F02AA}" srcId="{8210B30A-7820-49C2-84E0-C6E3614D6F11}" destId="{2CC4E232-A5FA-404A-A587-9293A2F8D13E}" srcOrd="4" destOrd="0" parTransId="{E0A6EFA8-3CEB-4C4E-B928-698972762E2E}" sibTransId="{20A5A09D-8C42-4093-83FD-FA1D566907E2}"/>
    <dgm:cxn modelId="{679E2A4F-4F34-4B5A-9A96-3E54121EA69D}" type="presOf" srcId="{52C5DE8E-3235-427D-8771-76D514532B30}" destId="{219B9ACF-B21E-4029-A52A-CA3D85972D2A}" srcOrd="0" destOrd="0" presId="urn:microsoft.com/office/officeart/2005/8/layout/list1"/>
    <dgm:cxn modelId="{7DC11C77-896C-40BF-8C4B-CFA097F9E5C0}" type="presOf" srcId="{FEB291D7-AACF-49AB-B6FB-E17F76675B64}" destId="{E4836250-0738-4114-9B13-6685CCF81A89}" srcOrd="1" destOrd="0" presId="urn:microsoft.com/office/officeart/2005/8/layout/list1"/>
    <dgm:cxn modelId="{610AAB6A-7A43-45EB-8940-0B1875FDCE71}" type="presOf" srcId="{65AF9B36-409D-474B-A63A-C669708CBDE2}" destId="{31AD7474-67FF-4324-AF19-696CBF150FFB}" srcOrd="0" destOrd="0" presId="urn:microsoft.com/office/officeart/2005/8/layout/list1"/>
    <dgm:cxn modelId="{CFC6845F-99B7-4316-903B-0BFF61A5D381}" type="presParOf" srcId="{AA0C009D-3EF9-4958-A263-34F740188E69}" destId="{3C497EB9-3673-4CF3-9589-75BEF0F56BA6}" srcOrd="0" destOrd="0" presId="urn:microsoft.com/office/officeart/2005/8/layout/list1"/>
    <dgm:cxn modelId="{A127F218-B340-4807-B73F-5E97A4065F05}" type="presParOf" srcId="{3C497EB9-3673-4CF3-9589-75BEF0F56BA6}" destId="{CF176F1E-D9C2-40CE-AC8A-5D99AD7BB9BE}" srcOrd="0" destOrd="0" presId="urn:microsoft.com/office/officeart/2005/8/layout/list1"/>
    <dgm:cxn modelId="{4C97193F-571A-45BC-95CF-AA021372DAE4}" type="presParOf" srcId="{3C497EB9-3673-4CF3-9589-75BEF0F56BA6}" destId="{E4836250-0738-4114-9B13-6685CCF81A89}" srcOrd="1" destOrd="0" presId="urn:microsoft.com/office/officeart/2005/8/layout/list1"/>
    <dgm:cxn modelId="{F09D40E1-A44F-4CBC-97CE-A4A608FBEB08}" type="presParOf" srcId="{AA0C009D-3EF9-4958-A263-34F740188E69}" destId="{1756D488-C156-47EA-B974-CBA1D7649494}" srcOrd="1" destOrd="0" presId="urn:microsoft.com/office/officeart/2005/8/layout/list1"/>
    <dgm:cxn modelId="{A085A996-BCF7-47CB-838D-ED0FA496FB4A}" type="presParOf" srcId="{AA0C009D-3EF9-4958-A263-34F740188E69}" destId="{C02A4FEF-ADB8-4C7A-A182-0B7BE5EBF83E}" srcOrd="2" destOrd="0" presId="urn:microsoft.com/office/officeart/2005/8/layout/list1"/>
    <dgm:cxn modelId="{1A4734F4-FE04-4B77-8F7D-7770A206DDE3}" type="presParOf" srcId="{AA0C009D-3EF9-4958-A263-34F740188E69}" destId="{307C5B59-AE36-45FA-B0A9-60D8E1E23754}" srcOrd="3" destOrd="0" presId="urn:microsoft.com/office/officeart/2005/8/layout/list1"/>
    <dgm:cxn modelId="{35D133EA-930A-4088-A310-45DEBDD0AFF0}" type="presParOf" srcId="{AA0C009D-3EF9-4958-A263-34F740188E69}" destId="{780124A6-6C10-4144-9EEC-AF0F6A220556}" srcOrd="4" destOrd="0" presId="urn:microsoft.com/office/officeart/2005/8/layout/list1"/>
    <dgm:cxn modelId="{063D2111-E6D7-417E-8884-609296F999D6}" type="presParOf" srcId="{780124A6-6C10-4144-9EEC-AF0F6A220556}" destId="{94442A78-919C-400B-8879-76A1A55D5D13}" srcOrd="0" destOrd="0" presId="urn:microsoft.com/office/officeart/2005/8/layout/list1"/>
    <dgm:cxn modelId="{B54C39EE-6B7B-4B23-AD67-262D917200A9}" type="presParOf" srcId="{780124A6-6C10-4144-9EEC-AF0F6A220556}" destId="{E31DB21C-402A-4E13-89A3-5560FFAA333B}" srcOrd="1" destOrd="0" presId="urn:microsoft.com/office/officeart/2005/8/layout/list1"/>
    <dgm:cxn modelId="{70F74BD7-C59D-46A9-838C-6732C27E1EC1}" type="presParOf" srcId="{AA0C009D-3EF9-4958-A263-34F740188E69}" destId="{C936B764-63C4-4634-9A31-EC451853CF56}" srcOrd="5" destOrd="0" presId="urn:microsoft.com/office/officeart/2005/8/layout/list1"/>
    <dgm:cxn modelId="{3D196CC2-0774-44B7-97D3-EC840E1FA353}" type="presParOf" srcId="{AA0C009D-3EF9-4958-A263-34F740188E69}" destId="{9B3DDBB6-1345-48E9-B014-59C24B917B88}" srcOrd="6" destOrd="0" presId="urn:microsoft.com/office/officeart/2005/8/layout/list1"/>
    <dgm:cxn modelId="{70552D43-6AC5-4D4A-BA1F-90CA37CB0C22}" type="presParOf" srcId="{AA0C009D-3EF9-4958-A263-34F740188E69}" destId="{7F3C02A5-EDB3-4C96-A8E6-9457B096900D}" srcOrd="7" destOrd="0" presId="urn:microsoft.com/office/officeart/2005/8/layout/list1"/>
    <dgm:cxn modelId="{898019E9-1412-4C56-9547-8FE943334A87}" type="presParOf" srcId="{AA0C009D-3EF9-4958-A263-34F740188E69}" destId="{2DB681F4-5B09-45C0-A29E-935DF8E47341}" srcOrd="8" destOrd="0" presId="urn:microsoft.com/office/officeart/2005/8/layout/list1"/>
    <dgm:cxn modelId="{AF9F89B0-4696-4164-96B7-731EA430C7FC}" type="presParOf" srcId="{2DB681F4-5B09-45C0-A29E-935DF8E47341}" destId="{38169346-ADE7-487E-A845-D7C39528A423}" srcOrd="0" destOrd="0" presId="urn:microsoft.com/office/officeart/2005/8/layout/list1"/>
    <dgm:cxn modelId="{98C7CB02-8890-47B7-9CC7-B0E5ECC478DA}" type="presParOf" srcId="{2DB681F4-5B09-45C0-A29E-935DF8E47341}" destId="{81C22531-C9CA-4825-ADC5-7FCAAEC32B93}" srcOrd="1" destOrd="0" presId="urn:microsoft.com/office/officeart/2005/8/layout/list1"/>
    <dgm:cxn modelId="{92D2BA36-8868-491A-8568-367C700F2F1C}" type="presParOf" srcId="{AA0C009D-3EF9-4958-A263-34F740188E69}" destId="{EB10A9BD-5420-4246-8DBC-670084069BFB}" srcOrd="9" destOrd="0" presId="urn:microsoft.com/office/officeart/2005/8/layout/list1"/>
    <dgm:cxn modelId="{929BF86F-CE2C-4B06-B662-E290328BF525}" type="presParOf" srcId="{AA0C009D-3EF9-4958-A263-34F740188E69}" destId="{55CD628D-4FE9-49CC-9C7B-AA59F6B97B8A}" srcOrd="10" destOrd="0" presId="urn:microsoft.com/office/officeart/2005/8/layout/list1"/>
    <dgm:cxn modelId="{D642FD55-EAAE-4726-8991-0D3990916656}" type="presParOf" srcId="{AA0C009D-3EF9-4958-A263-34F740188E69}" destId="{1C42C785-148F-4447-9C1E-B67ECE1D6A73}" srcOrd="11" destOrd="0" presId="urn:microsoft.com/office/officeart/2005/8/layout/list1"/>
    <dgm:cxn modelId="{CC6542FC-B688-4D6C-BB15-1F842A18168D}" type="presParOf" srcId="{AA0C009D-3EF9-4958-A263-34F740188E69}" destId="{3A6D7346-9B07-4CE5-A6E0-040463C28EC1}" srcOrd="12" destOrd="0" presId="urn:microsoft.com/office/officeart/2005/8/layout/list1"/>
    <dgm:cxn modelId="{E1157A44-146F-4AAF-A8A3-87A35826C45D}" type="presParOf" srcId="{3A6D7346-9B07-4CE5-A6E0-040463C28EC1}" destId="{219B9ACF-B21E-4029-A52A-CA3D85972D2A}" srcOrd="0" destOrd="0" presId="urn:microsoft.com/office/officeart/2005/8/layout/list1"/>
    <dgm:cxn modelId="{C9F152D3-4D51-48C0-A9F6-81650226536B}" type="presParOf" srcId="{3A6D7346-9B07-4CE5-A6E0-040463C28EC1}" destId="{F1A6291D-7609-4899-80ED-930698DBFE64}" srcOrd="1" destOrd="0" presId="urn:microsoft.com/office/officeart/2005/8/layout/list1"/>
    <dgm:cxn modelId="{CB8DB71F-CFE8-4848-9CD1-99FDAB84E983}" type="presParOf" srcId="{AA0C009D-3EF9-4958-A263-34F740188E69}" destId="{934BB1A0-5B1F-4D3F-9AC6-46509D2D5C5C}" srcOrd="13" destOrd="0" presId="urn:microsoft.com/office/officeart/2005/8/layout/list1"/>
    <dgm:cxn modelId="{A4517B26-5AA2-4F91-94AA-D780142E567A}" type="presParOf" srcId="{AA0C009D-3EF9-4958-A263-34F740188E69}" destId="{D3FFC89D-478C-46E7-9455-FB5B41AD876C}" srcOrd="14" destOrd="0" presId="urn:microsoft.com/office/officeart/2005/8/layout/list1"/>
    <dgm:cxn modelId="{CE3E3D48-D301-4319-8E1E-BDA3EF52072C}" type="presParOf" srcId="{AA0C009D-3EF9-4958-A263-34F740188E69}" destId="{4F3D8D84-BED4-43E2-9E64-D62B59AB49CB}" srcOrd="15" destOrd="0" presId="urn:microsoft.com/office/officeart/2005/8/layout/list1"/>
    <dgm:cxn modelId="{2EA8CD7E-4A3F-4B72-9516-0C261B51C474}" type="presParOf" srcId="{AA0C009D-3EF9-4958-A263-34F740188E69}" destId="{D4DF5C96-5755-413F-8C2C-C87711DE3743}" srcOrd="16" destOrd="0" presId="urn:microsoft.com/office/officeart/2005/8/layout/list1"/>
    <dgm:cxn modelId="{6F5001D1-6EA7-4A1B-84A4-16CD626A9140}" type="presParOf" srcId="{D4DF5C96-5755-413F-8C2C-C87711DE3743}" destId="{1BE73B6D-8C20-4357-93F8-8634D610FAB6}" srcOrd="0" destOrd="0" presId="urn:microsoft.com/office/officeart/2005/8/layout/list1"/>
    <dgm:cxn modelId="{9BD77964-A79A-4428-A990-39E9AA03B429}" type="presParOf" srcId="{D4DF5C96-5755-413F-8C2C-C87711DE3743}" destId="{0A148633-50FB-4E8B-ADFF-6E46A9CF42C8}" srcOrd="1" destOrd="0" presId="urn:microsoft.com/office/officeart/2005/8/layout/list1"/>
    <dgm:cxn modelId="{61B9299D-3282-4847-81C6-028AE50521BE}" type="presParOf" srcId="{AA0C009D-3EF9-4958-A263-34F740188E69}" destId="{31EDFE3B-B2EC-4AA1-8BC7-10330B934404}" srcOrd="17" destOrd="0" presId="urn:microsoft.com/office/officeart/2005/8/layout/list1"/>
    <dgm:cxn modelId="{6DA199B3-FF1B-4FDB-9BF7-E7D8E0981A41}" type="presParOf" srcId="{AA0C009D-3EF9-4958-A263-34F740188E69}" destId="{BB128A51-2C32-418B-9BAA-649B951D00BF}" srcOrd="18" destOrd="0" presId="urn:microsoft.com/office/officeart/2005/8/layout/list1"/>
    <dgm:cxn modelId="{65764EF1-D5DD-445D-9F19-77031B994C92}" type="presParOf" srcId="{AA0C009D-3EF9-4958-A263-34F740188E69}" destId="{3196FCB3-C713-4EA9-866C-2F18AE9B9DAD}" srcOrd="19" destOrd="0" presId="urn:microsoft.com/office/officeart/2005/8/layout/list1"/>
    <dgm:cxn modelId="{572C530C-C643-417C-9CB5-A835A408B518}" type="presParOf" srcId="{AA0C009D-3EF9-4958-A263-34F740188E69}" destId="{672BB916-0A74-4422-9F1F-2E2392C2181D}" srcOrd="20" destOrd="0" presId="urn:microsoft.com/office/officeart/2005/8/layout/list1"/>
    <dgm:cxn modelId="{42912F2F-E630-4AC2-B643-8AF4E76658E4}" type="presParOf" srcId="{672BB916-0A74-4422-9F1F-2E2392C2181D}" destId="{31AD7474-67FF-4324-AF19-696CBF150FFB}" srcOrd="0" destOrd="0" presId="urn:microsoft.com/office/officeart/2005/8/layout/list1"/>
    <dgm:cxn modelId="{0783695B-5176-46E3-A47E-1863BBCA9231}" type="presParOf" srcId="{672BB916-0A74-4422-9F1F-2E2392C2181D}" destId="{0901935B-B69D-474A-83B5-FFFAFB62B401}" srcOrd="1" destOrd="0" presId="urn:microsoft.com/office/officeart/2005/8/layout/list1"/>
    <dgm:cxn modelId="{1E662F40-A15C-4D5A-8397-EFD77D11F259}" type="presParOf" srcId="{AA0C009D-3EF9-4958-A263-34F740188E69}" destId="{4CDA0280-2486-422A-9937-4215B5EB0BE7}" srcOrd="21" destOrd="0" presId="urn:microsoft.com/office/officeart/2005/8/layout/list1"/>
    <dgm:cxn modelId="{16870C6A-5DC6-4F04-AD57-228B8D82116F}" type="presParOf" srcId="{AA0C009D-3EF9-4958-A263-34F740188E69}" destId="{DE6D102D-7E84-49E2-9627-B37BA8E96ADE}" srcOrd="22" destOrd="0" presId="urn:microsoft.com/office/officeart/2005/8/layout/list1"/>
    <dgm:cxn modelId="{72D1B4AE-DDCA-484C-996C-7FE604F5536F}" type="presParOf" srcId="{AA0C009D-3EF9-4958-A263-34F740188E69}" destId="{D8701CB0-380D-4FD0-B4C7-26B104D45139}" srcOrd="23" destOrd="0" presId="urn:microsoft.com/office/officeart/2005/8/layout/list1"/>
    <dgm:cxn modelId="{F92D433D-9766-4D2D-8939-0E675DBB6BC2}" type="presParOf" srcId="{AA0C009D-3EF9-4958-A263-34F740188E69}" destId="{A0CDD705-1452-43FB-BB7B-FAE0851D4052}" srcOrd="24" destOrd="0" presId="urn:microsoft.com/office/officeart/2005/8/layout/list1"/>
    <dgm:cxn modelId="{8CCE9BB0-C213-4287-88AE-792354501D8A}" type="presParOf" srcId="{A0CDD705-1452-43FB-BB7B-FAE0851D4052}" destId="{849D3F0E-3AFB-4D51-8B4F-D6BFB74E6A12}" srcOrd="0" destOrd="0" presId="urn:microsoft.com/office/officeart/2005/8/layout/list1"/>
    <dgm:cxn modelId="{A218E007-7098-4415-8130-D9C2246017EC}" type="presParOf" srcId="{A0CDD705-1452-43FB-BB7B-FAE0851D4052}" destId="{98201A42-145D-49B6-99DF-EDD0F018D922}" srcOrd="1" destOrd="0" presId="urn:microsoft.com/office/officeart/2005/8/layout/list1"/>
    <dgm:cxn modelId="{7CC871B7-0B98-4CA0-819A-CFFB84FB50CC}" type="presParOf" srcId="{AA0C009D-3EF9-4958-A263-34F740188E69}" destId="{8682766F-B8B6-4704-948B-E83B1D434C68}" srcOrd="25" destOrd="0" presId="urn:microsoft.com/office/officeart/2005/8/layout/list1"/>
    <dgm:cxn modelId="{C6331A5A-12C7-4AAE-B7B4-7A785201E310}" type="presParOf" srcId="{AA0C009D-3EF9-4958-A263-34F740188E69}" destId="{4A9EEFC3-3339-4EEE-8CD6-E8E4982536B0}" srcOrd="26" destOrd="0" presId="urn:microsoft.com/office/officeart/2005/8/layout/list1"/>
    <dgm:cxn modelId="{373C04C7-A5F5-47D5-AAE9-CAE1060D951C}" type="presParOf" srcId="{AA0C009D-3EF9-4958-A263-34F740188E69}" destId="{260BC6CD-8777-49BC-9135-90369FFFCF94}" srcOrd="27" destOrd="0" presId="urn:microsoft.com/office/officeart/2005/8/layout/list1"/>
    <dgm:cxn modelId="{3242F2B3-0176-4260-A3FE-C1CAE79FDB27}" type="presParOf" srcId="{AA0C009D-3EF9-4958-A263-34F740188E69}" destId="{05D25277-C18C-4681-B46E-D95E7D00B4DF}" srcOrd="28" destOrd="0" presId="urn:microsoft.com/office/officeart/2005/8/layout/list1"/>
    <dgm:cxn modelId="{3D7B1071-B1FD-4811-838C-5EBBBBA73173}" type="presParOf" srcId="{05D25277-C18C-4681-B46E-D95E7D00B4DF}" destId="{9E9B59BC-CCF7-4452-8E12-A9C01DBBB49E}" srcOrd="0" destOrd="0" presId="urn:microsoft.com/office/officeart/2005/8/layout/list1"/>
    <dgm:cxn modelId="{CA195BEB-6962-4386-B71F-1FEB4E83E8EB}" type="presParOf" srcId="{05D25277-C18C-4681-B46E-D95E7D00B4DF}" destId="{2BF60A6A-753A-4539-9D31-7BB691BDADC6}" srcOrd="1" destOrd="0" presId="urn:microsoft.com/office/officeart/2005/8/layout/list1"/>
    <dgm:cxn modelId="{E97C9CD1-C453-4135-B075-5547A7869AF5}" type="presParOf" srcId="{AA0C009D-3EF9-4958-A263-34F740188E69}" destId="{DEBD39F8-A8A2-4443-B0D8-BEC89C81D7D8}" srcOrd="29" destOrd="0" presId="urn:microsoft.com/office/officeart/2005/8/layout/list1"/>
    <dgm:cxn modelId="{E770A987-A04B-4295-B6A0-830A4ACDEBA6}" type="presParOf" srcId="{AA0C009D-3EF9-4958-A263-34F740188E69}" destId="{3711419E-36A0-4304-AB40-15942D8004A1}" srcOrd="3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5D70C00-742C-4E9C-8B40-1901126739CC}" type="doc">
      <dgm:prSet loTypeId="urn:diagrams.loki3.com/Bracket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316DA51-E43E-41DA-BFD4-17EE59F0902F}">
      <dgm:prSet phldrT="[Text]"/>
      <dgm:spPr/>
      <dgm:t>
        <a:bodyPr/>
        <a:lstStyle/>
        <a:p>
          <a:r>
            <a:rPr lang="en-US" dirty="0" smtClean="0"/>
            <a:t>Objective1</a:t>
          </a:r>
          <a:endParaRPr lang="en-US" dirty="0"/>
        </a:p>
      </dgm:t>
    </dgm:pt>
    <dgm:pt modelId="{E1F15485-CBD9-48F6-9EEC-850148322AC8}" type="parTrans" cxnId="{F1FF3FB1-20DD-4DF7-809D-C8D332214C57}">
      <dgm:prSet/>
      <dgm:spPr/>
      <dgm:t>
        <a:bodyPr/>
        <a:lstStyle/>
        <a:p>
          <a:endParaRPr lang="en-US"/>
        </a:p>
      </dgm:t>
    </dgm:pt>
    <dgm:pt modelId="{B0190C01-E99E-4E29-887B-F1F97B45B60F}" type="sibTrans" cxnId="{F1FF3FB1-20DD-4DF7-809D-C8D332214C57}">
      <dgm:prSet/>
      <dgm:spPr/>
      <dgm:t>
        <a:bodyPr/>
        <a:lstStyle/>
        <a:p>
          <a:endParaRPr lang="en-US"/>
        </a:p>
      </dgm:t>
    </dgm:pt>
    <dgm:pt modelId="{59C5D0A5-E731-4D27-B9B3-F44FFCAFA8CD}">
      <dgm:prSet phldrT="[Text]"/>
      <dgm:spPr/>
      <dgm:t>
        <a:bodyPr/>
        <a:lstStyle/>
        <a:p>
          <a:r>
            <a:rPr lang="en-US" dirty="0" smtClean="0"/>
            <a:t>Studying different models to deploy evolved packet core at emerging market.</a:t>
          </a:r>
          <a:endParaRPr lang="en-US" dirty="0"/>
        </a:p>
      </dgm:t>
    </dgm:pt>
    <dgm:pt modelId="{9B2F8B48-2D44-48A1-AB79-BEC0D6E12959}" type="parTrans" cxnId="{CE929A15-1CD1-4185-8335-065CE29DCDFE}">
      <dgm:prSet/>
      <dgm:spPr/>
      <dgm:t>
        <a:bodyPr/>
        <a:lstStyle/>
        <a:p>
          <a:endParaRPr lang="en-US"/>
        </a:p>
      </dgm:t>
    </dgm:pt>
    <dgm:pt modelId="{0EE6F7A6-EECB-4FFD-9EA8-0778CF3013CC}" type="sibTrans" cxnId="{CE929A15-1CD1-4185-8335-065CE29DCDFE}">
      <dgm:prSet/>
      <dgm:spPr/>
      <dgm:t>
        <a:bodyPr/>
        <a:lstStyle/>
        <a:p>
          <a:endParaRPr lang="en-US"/>
        </a:p>
      </dgm:t>
    </dgm:pt>
    <dgm:pt modelId="{CB4E0755-DEA8-4051-A234-F16090A97757}">
      <dgm:prSet phldrT="[Text]"/>
      <dgm:spPr/>
      <dgm:t>
        <a:bodyPr/>
        <a:lstStyle/>
        <a:p>
          <a:r>
            <a:rPr lang="en-US" dirty="0" smtClean="0"/>
            <a:t>Objective2 </a:t>
          </a:r>
        </a:p>
      </dgm:t>
    </dgm:pt>
    <dgm:pt modelId="{C7A1F03A-F27F-4040-AC6C-622225315B01}" type="parTrans" cxnId="{515C2705-6CCB-4F4F-A778-611611DE9D39}">
      <dgm:prSet/>
      <dgm:spPr/>
      <dgm:t>
        <a:bodyPr/>
        <a:lstStyle/>
        <a:p>
          <a:endParaRPr lang="en-US"/>
        </a:p>
      </dgm:t>
    </dgm:pt>
    <dgm:pt modelId="{2DDF5E3C-FBE2-4D93-A748-4D061D1189F3}" type="sibTrans" cxnId="{515C2705-6CCB-4F4F-A778-611611DE9D39}">
      <dgm:prSet/>
      <dgm:spPr/>
      <dgm:t>
        <a:bodyPr/>
        <a:lstStyle/>
        <a:p>
          <a:endParaRPr lang="en-US"/>
        </a:p>
      </dgm:t>
    </dgm:pt>
    <dgm:pt modelId="{16660EFC-2E32-4AD4-B3C0-AA1B3A6569DC}">
      <dgm:prSet phldrT="[Text]"/>
      <dgm:spPr/>
      <dgm:t>
        <a:bodyPr/>
        <a:lstStyle/>
        <a:p>
          <a:r>
            <a:rPr lang="en-US" dirty="0" smtClean="0"/>
            <a:t>Find out the best business model to deploy virtualized evolved packet core in mobile operators at emerging markets.</a:t>
          </a:r>
          <a:endParaRPr lang="en-US" dirty="0"/>
        </a:p>
      </dgm:t>
    </dgm:pt>
    <dgm:pt modelId="{176C92A1-C81A-41C8-91B6-8C09654C32AB}" type="parTrans" cxnId="{744994D5-2F48-4C49-B3B9-4529B360347D}">
      <dgm:prSet/>
      <dgm:spPr/>
      <dgm:t>
        <a:bodyPr/>
        <a:lstStyle/>
        <a:p>
          <a:endParaRPr lang="en-US"/>
        </a:p>
      </dgm:t>
    </dgm:pt>
    <dgm:pt modelId="{A0F02C9F-A0F4-491C-90CD-B40FF94D8314}" type="sibTrans" cxnId="{744994D5-2F48-4C49-B3B9-4529B360347D}">
      <dgm:prSet/>
      <dgm:spPr/>
      <dgm:t>
        <a:bodyPr/>
        <a:lstStyle/>
        <a:p>
          <a:endParaRPr lang="en-US"/>
        </a:p>
      </dgm:t>
    </dgm:pt>
    <dgm:pt modelId="{CB8E4D0F-2211-495E-A172-EF062C305EC6}">
      <dgm:prSet phldrT="[Text]"/>
      <dgm:spPr/>
      <dgm:t>
        <a:bodyPr/>
        <a:lstStyle/>
        <a:p>
          <a:r>
            <a:rPr lang="en-US" dirty="0" smtClean="0"/>
            <a:t>Objective3</a:t>
          </a:r>
          <a:endParaRPr lang="en-US" dirty="0"/>
        </a:p>
      </dgm:t>
    </dgm:pt>
    <dgm:pt modelId="{65005084-2DB3-4FDB-8D2E-CADEF13915F8}" type="parTrans" cxnId="{99B9F9D3-C100-43C1-B8E0-AD389DAEECC8}">
      <dgm:prSet/>
      <dgm:spPr/>
      <dgm:t>
        <a:bodyPr/>
        <a:lstStyle/>
        <a:p>
          <a:endParaRPr lang="en-US"/>
        </a:p>
      </dgm:t>
    </dgm:pt>
    <dgm:pt modelId="{2ED5F3B3-6BF1-498F-B4D0-1C595CAD3CB7}" type="sibTrans" cxnId="{99B9F9D3-C100-43C1-B8E0-AD389DAEECC8}">
      <dgm:prSet/>
      <dgm:spPr/>
      <dgm:t>
        <a:bodyPr/>
        <a:lstStyle/>
        <a:p>
          <a:endParaRPr lang="en-US"/>
        </a:p>
      </dgm:t>
    </dgm:pt>
    <dgm:pt modelId="{DCA11024-5E16-4D96-B807-4E7EB1270AD6}">
      <dgm:prSet phldrT="[Text]"/>
      <dgm:spPr/>
      <dgm:t>
        <a:bodyPr/>
        <a:lstStyle/>
        <a:p>
          <a:r>
            <a:rPr lang="en-US" smtClean="0"/>
            <a:t>Define the briars and limitations of deploying NFV.</a:t>
          </a:r>
          <a:endParaRPr lang="en-US" dirty="0"/>
        </a:p>
      </dgm:t>
    </dgm:pt>
    <dgm:pt modelId="{63793E24-228E-414A-9592-2A59D25AADF4}" type="parTrans" cxnId="{A1A18F3B-49A9-4309-BE83-3EA0629A4FA2}">
      <dgm:prSet/>
      <dgm:spPr/>
      <dgm:t>
        <a:bodyPr/>
        <a:lstStyle/>
        <a:p>
          <a:endParaRPr lang="en-US"/>
        </a:p>
      </dgm:t>
    </dgm:pt>
    <dgm:pt modelId="{6426374E-009B-4003-92A5-DDB68BE44696}" type="sibTrans" cxnId="{A1A18F3B-49A9-4309-BE83-3EA0629A4FA2}">
      <dgm:prSet/>
      <dgm:spPr/>
      <dgm:t>
        <a:bodyPr/>
        <a:lstStyle/>
        <a:p>
          <a:endParaRPr lang="en-US"/>
        </a:p>
      </dgm:t>
    </dgm:pt>
    <dgm:pt modelId="{DC1877C6-C454-4C74-ABAE-4DE843FFB79C}">
      <dgm:prSet phldrT="[Text]"/>
      <dgm:spPr/>
      <dgm:t>
        <a:bodyPr/>
        <a:lstStyle/>
        <a:p>
          <a:r>
            <a:rPr lang="en-US" dirty="0" smtClean="0"/>
            <a:t>Objective 4</a:t>
          </a:r>
          <a:endParaRPr lang="en-US" dirty="0"/>
        </a:p>
      </dgm:t>
    </dgm:pt>
    <dgm:pt modelId="{01738001-0750-4199-9AAD-E85C80038367}" type="parTrans" cxnId="{3101B71B-BE92-4BF7-A7F4-9F50BD1E54D1}">
      <dgm:prSet/>
      <dgm:spPr/>
      <dgm:t>
        <a:bodyPr/>
        <a:lstStyle/>
        <a:p>
          <a:endParaRPr lang="en-US"/>
        </a:p>
      </dgm:t>
    </dgm:pt>
    <dgm:pt modelId="{7BA8533F-BC42-43E9-BE31-952AA6BA1400}" type="sibTrans" cxnId="{3101B71B-BE92-4BF7-A7F4-9F50BD1E54D1}">
      <dgm:prSet/>
      <dgm:spPr/>
      <dgm:t>
        <a:bodyPr/>
        <a:lstStyle/>
        <a:p>
          <a:endParaRPr lang="en-US"/>
        </a:p>
      </dgm:t>
    </dgm:pt>
    <dgm:pt modelId="{06EAAA1C-D0D7-44B5-8625-22FC7845E6A9}">
      <dgm:prSet phldrT="[Text]"/>
      <dgm:spPr/>
      <dgm:t>
        <a:bodyPr/>
        <a:lstStyle/>
        <a:p>
          <a:r>
            <a:rPr lang="en-US" smtClean="0"/>
            <a:t>To assess NFV operational and commercial impact.</a:t>
          </a:r>
          <a:endParaRPr lang="en-US" dirty="0"/>
        </a:p>
      </dgm:t>
    </dgm:pt>
    <dgm:pt modelId="{CF5594D7-1CE9-4130-AD81-B81A4007FC7E}" type="parTrans" cxnId="{984AC56D-2BEB-44E5-9FA0-4A0170484084}">
      <dgm:prSet/>
      <dgm:spPr/>
      <dgm:t>
        <a:bodyPr/>
        <a:lstStyle/>
        <a:p>
          <a:endParaRPr lang="en-US"/>
        </a:p>
      </dgm:t>
    </dgm:pt>
    <dgm:pt modelId="{2DCA4BF0-681C-4AF3-8B55-646F9E16FE56}" type="sibTrans" cxnId="{984AC56D-2BEB-44E5-9FA0-4A0170484084}">
      <dgm:prSet/>
      <dgm:spPr/>
      <dgm:t>
        <a:bodyPr/>
        <a:lstStyle/>
        <a:p>
          <a:endParaRPr lang="en-US"/>
        </a:p>
      </dgm:t>
    </dgm:pt>
    <dgm:pt modelId="{399B4183-23AC-4224-90F5-B22F53574D87}" type="pres">
      <dgm:prSet presAssocID="{A5D70C00-742C-4E9C-8B40-1901126739CC}" presName="Name0" presStyleCnt="0">
        <dgm:presLayoutVars>
          <dgm:dir/>
          <dgm:animLvl val="lvl"/>
          <dgm:resizeHandles val="exact"/>
        </dgm:presLayoutVars>
      </dgm:prSet>
      <dgm:spPr/>
    </dgm:pt>
    <dgm:pt modelId="{D8B3AC83-7750-4EA3-A791-3B62AADEA1A2}" type="pres">
      <dgm:prSet presAssocID="{7316DA51-E43E-41DA-BFD4-17EE59F0902F}" presName="linNode" presStyleCnt="0"/>
      <dgm:spPr/>
    </dgm:pt>
    <dgm:pt modelId="{37834DD5-209D-4AE2-B418-96DB720AB01B}" type="pres">
      <dgm:prSet presAssocID="{7316DA51-E43E-41DA-BFD4-17EE59F0902F}" presName="parTx" presStyleLbl="revTx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E622ABD-CFAF-4F14-9510-62B82E56CDBA}" type="pres">
      <dgm:prSet presAssocID="{7316DA51-E43E-41DA-BFD4-17EE59F0902F}" presName="bracket" presStyleLbl="parChTrans1D1" presStyleIdx="0" presStyleCnt="4"/>
      <dgm:spPr/>
    </dgm:pt>
    <dgm:pt modelId="{F5435CE4-259E-4703-8251-B3FA11FBC2B2}" type="pres">
      <dgm:prSet presAssocID="{7316DA51-E43E-41DA-BFD4-17EE59F0902F}" presName="spH" presStyleCnt="0"/>
      <dgm:spPr/>
    </dgm:pt>
    <dgm:pt modelId="{4A14B451-9087-4951-8E9C-DDF03385ED6A}" type="pres">
      <dgm:prSet presAssocID="{7316DA51-E43E-41DA-BFD4-17EE59F0902F}" presName="desTx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F52549C-0AEB-407F-830D-ED018097692B}" type="pres">
      <dgm:prSet presAssocID="{B0190C01-E99E-4E29-887B-F1F97B45B60F}" presName="spV" presStyleCnt="0"/>
      <dgm:spPr/>
    </dgm:pt>
    <dgm:pt modelId="{DF6712CF-F348-464E-972F-2F204A16D1FE}" type="pres">
      <dgm:prSet presAssocID="{CB4E0755-DEA8-4051-A234-F16090A97757}" presName="linNode" presStyleCnt="0"/>
      <dgm:spPr/>
    </dgm:pt>
    <dgm:pt modelId="{D6F0C62D-8322-4581-933D-398BE6C47E0A}" type="pres">
      <dgm:prSet presAssocID="{CB4E0755-DEA8-4051-A234-F16090A97757}" presName="parTx" presStyleLbl="revTx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D24F7B6-08CA-4758-B612-C2A72BC34EFD}" type="pres">
      <dgm:prSet presAssocID="{CB4E0755-DEA8-4051-A234-F16090A97757}" presName="bracket" presStyleLbl="parChTrans1D1" presStyleIdx="1" presStyleCnt="4"/>
      <dgm:spPr/>
    </dgm:pt>
    <dgm:pt modelId="{51420FE2-263D-4759-97A7-EF842BF19123}" type="pres">
      <dgm:prSet presAssocID="{CB4E0755-DEA8-4051-A234-F16090A97757}" presName="spH" presStyleCnt="0"/>
      <dgm:spPr/>
    </dgm:pt>
    <dgm:pt modelId="{A8D5CAAC-836F-43EA-B111-6C57EEACA924}" type="pres">
      <dgm:prSet presAssocID="{CB4E0755-DEA8-4051-A234-F16090A97757}" presName="desTx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E7CE048-EF25-450C-8FD9-5B00947461BA}" type="pres">
      <dgm:prSet presAssocID="{2DDF5E3C-FBE2-4D93-A748-4D061D1189F3}" presName="spV" presStyleCnt="0"/>
      <dgm:spPr/>
    </dgm:pt>
    <dgm:pt modelId="{813FC5E9-8206-42B1-A210-A02B1F78CF69}" type="pres">
      <dgm:prSet presAssocID="{CB8E4D0F-2211-495E-A172-EF062C305EC6}" presName="linNode" presStyleCnt="0"/>
      <dgm:spPr/>
    </dgm:pt>
    <dgm:pt modelId="{47B44FCD-9688-4CFC-8828-653179571BBA}" type="pres">
      <dgm:prSet presAssocID="{CB8E4D0F-2211-495E-A172-EF062C305EC6}" presName="parTx" presStyleLbl="revTx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F159061-390B-4033-8DED-93ED22C50479}" type="pres">
      <dgm:prSet presAssocID="{CB8E4D0F-2211-495E-A172-EF062C305EC6}" presName="bracket" presStyleLbl="parChTrans1D1" presStyleIdx="2" presStyleCnt="4"/>
      <dgm:spPr/>
    </dgm:pt>
    <dgm:pt modelId="{429B5067-136A-438C-A445-60AD4F938A86}" type="pres">
      <dgm:prSet presAssocID="{CB8E4D0F-2211-495E-A172-EF062C305EC6}" presName="spH" presStyleCnt="0"/>
      <dgm:spPr/>
    </dgm:pt>
    <dgm:pt modelId="{97346227-045A-42E4-BA58-8A1C5CD92AB9}" type="pres">
      <dgm:prSet presAssocID="{CB8E4D0F-2211-495E-A172-EF062C305EC6}" presName="desTx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ADD821D-D016-43F0-8CD4-8D6375FDBE11}" type="pres">
      <dgm:prSet presAssocID="{2ED5F3B3-6BF1-498F-B4D0-1C595CAD3CB7}" presName="spV" presStyleCnt="0"/>
      <dgm:spPr/>
    </dgm:pt>
    <dgm:pt modelId="{0DE5B8E9-A7A3-4555-8B34-8BFC2357B53C}" type="pres">
      <dgm:prSet presAssocID="{DC1877C6-C454-4C74-ABAE-4DE843FFB79C}" presName="linNode" presStyleCnt="0"/>
      <dgm:spPr/>
    </dgm:pt>
    <dgm:pt modelId="{DEC4A9AD-692A-48F2-AF33-6352F68E046F}" type="pres">
      <dgm:prSet presAssocID="{DC1877C6-C454-4C74-ABAE-4DE843FFB79C}" presName="parTx" presStyleLbl="revTx" presStyleIdx="3" presStyleCnt="4">
        <dgm:presLayoutVars>
          <dgm:chMax val="1"/>
          <dgm:bulletEnabled val="1"/>
        </dgm:presLayoutVars>
      </dgm:prSet>
      <dgm:spPr/>
    </dgm:pt>
    <dgm:pt modelId="{C367414E-38F4-44E0-84F0-29DC6068FBA2}" type="pres">
      <dgm:prSet presAssocID="{DC1877C6-C454-4C74-ABAE-4DE843FFB79C}" presName="bracket" presStyleLbl="parChTrans1D1" presStyleIdx="3" presStyleCnt="4"/>
      <dgm:spPr/>
    </dgm:pt>
    <dgm:pt modelId="{68704556-95C8-470C-A353-8D4F1C0F2CEB}" type="pres">
      <dgm:prSet presAssocID="{DC1877C6-C454-4C74-ABAE-4DE843FFB79C}" presName="spH" presStyleCnt="0"/>
      <dgm:spPr/>
    </dgm:pt>
    <dgm:pt modelId="{AAA5C83E-748D-46D8-80D0-00E84F632541}" type="pres">
      <dgm:prSet presAssocID="{DC1877C6-C454-4C74-ABAE-4DE843FFB79C}" presName="desTx" presStyleLbl="node1" presStyleIdx="3" presStyleCnt="4">
        <dgm:presLayoutVars>
          <dgm:bulletEnabled val="1"/>
        </dgm:presLayoutVars>
      </dgm:prSet>
      <dgm:spPr/>
    </dgm:pt>
  </dgm:ptLst>
  <dgm:cxnLst>
    <dgm:cxn modelId="{CE929A15-1CD1-4185-8335-065CE29DCDFE}" srcId="{7316DA51-E43E-41DA-BFD4-17EE59F0902F}" destId="{59C5D0A5-E731-4D27-B9B3-F44FFCAFA8CD}" srcOrd="0" destOrd="0" parTransId="{9B2F8B48-2D44-48A1-AB79-BEC0D6E12959}" sibTransId="{0EE6F7A6-EECB-4FFD-9EA8-0778CF3013CC}"/>
    <dgm:cxn modelId="{9BDB1830-8CD8-43BC-83E2-E87CFB20A1ED}" type="presOf" srcId="{16660EFC-2E32-4AD4-B3C0-AA1B3A6569DC}" destId="{A8D5CAAC-836F-43EA-B111-6C57EEACA924}" srcOrd="0" destOrd="0" presId="urn:diagrams.loki3.com/BracketList"/>
    <dgm:cxn modelId="{984AC56D-2BEB-44E5-9FA0-4A0170484084}" srcId="{DC1877C6-C454-4C74-ABAE-4DE843FFB79C}" destId="{06EAAA1C-D0D7-44B5-8625-22FC7845E6A9}" srcOrd="0" destOrd="0" parTransId="{CF5594D7-1CE9-4130-AD81-B81A4007FC7E}" sibTransId="{2DCA4BF0-681C-4AF3-8B55-646F9E16FE56}"/>
    <dgm:cxn modelId="{16706E3D-D459-43EE-B3FA-D401CC001EB3}" type="presOf" srcId="{A5D70C00-742C-4E9C-8B40-1901126739CC}" destId="{399B4183-23AC-4224-90F5-B22F53574D87}" srcOrd="0" destOrd="0" presId="urn:diagrams.loki3.com/BracketList"/>
    <dgm:cxn modelId="{F1AFF90E-770C-4507-A1C7-D605E455D3F1}" type="presOf" srcId="{CB4E0755-DEA8-4051-A234-F16090A97757}" destId="{D6F0C62D-8322-4581-933D-398BE6C47E0A}" srcOrd="0" destOrd="0" presId="urn:diagrams.loki3.com/BracketList"/>
    <dgm:cxn modelId="{3101B71B-BE92-4BF7-A7F4-9F50BD1E54D1}" srcId="{A5D70C00-742C-4E9C-8B40-1901126739CC}" destId="{DC1877C6-C454-4C74-ABAE-4DE843FFB79C}" srcOrd="3" destOrd="0" parTransId="{01738001-0750-4199-9AAD-E85C80038367}" sibTransId="{7BA8533F-BC42-43E9-BE31-952AA6BA1400}"/>
    <dgm:cxn modelId="{F1FF3FB1-20DD-4DF7-809D-C8D332214C57}" srcId="{A5D70C00-742C-4E9C-8B40-1901126739CC}" destId="{7316DA51-E43E-41DA-BFD4-17EE59F0902F}" srcOrd="0" destOrd="0" parTransId="{E1F15485-CBD9-48F6-9EEC-850148322AC8}" sibTransId="{B0190C01-E99E-4E29-887B-F1F97B45B60F}"/>
    <dgm:cxn modelId="{2DF9B258-9133-4AF7-A218-F8A77C3744DD}" type="presOf" srcId="{DC1877C6-C454-4C74-ABAE-4DE843FFB79C}" destId="{DEC4A9AD-692A-48F2-AF33-6352F68E046F}" srcOrd="0" destOrd="0" presId="urn:diagrams.loki3.com/BracketList"/>
    <dgm:cxn modelId="{BEF77088-B312-4276-B58D-2D2F0AF3051D}" type="presOf" srcId="{7316DA51-E43E-41DA-BFD4-17EE59F0902F}" destId="{37834DD5-209D-4AE2-B418-96DB720AB01B}" srcOrd="0" destOrd="0" presId="urn:diagrams.loki3.com/BracketList"/>
    <dgm:cxn modelId="{744994D5-2F48-4C49-B3B9-4529B360347D}" srcId="{CB4E0755-DEA8-4051-A234-F16090A97757}" destId="{16660EFC-2E32-4AD4-B3C0-AA1B3A6569DC}" srcOrd="0" destOrd="0" parTransId="{176C92A1-C81A-41C8-91B6-8C09654C32AB}" sibTransId="{A0F02C9F-A0F4-491C-90CD-B40FF94D8314}"/>
    <dgm:cxn modelId="{F747D7B2-F645-4B9A-BE73-53A409DCA624}" type="presOf" srcId="{CB8E4D0F-2211-495E-A172-EF062C305EC6}" destId="{47B44FCD-9688-4CFC-8828-653179571BBA}" srcOrd="0" destOrd="0" presId="urn:diagrams.loki3.com/BracketList"/>
    <dgm:cxn modelId="{49563ADE-275A-4035-82DA-35369A0FA819}" type="presOf" srcId="{DCA11024-5E16-4D96-B807-4E7EB1270AD6}" destId="{97346227-045A-42E4-BA58-8A1C5CD92AB9}" srcOrd="0" destOrd="0" presId="urn:diagrams.loki3.com/BracketList"/>
    <dgm:cxn modelId="{99B9F9D3-C100-43C1-B8E0-AD389DAEECC8}" srcId="{A5D70C00-742C-4E9C-8B40-1901126739CC}" destId="{CB8E4D0F-2211-495E-A172-EF062C305EC6}" srcOrd="2" destOrd="0" parTransId="{65005084-2DB3-4FDB-8D2E-CADEF13915F8}" sibTransId="{2ED5F3B3-6BF1-498F-B4D0-1C595CAD3CB7}"/>
    <dgm:cxn modelId="{5773800B-B5AE-48B6-B7C5-0A37674AB6CF}" type="presOf" srcId="{59C5D0A5-E731-4D27-B9B3-F44FFCAFA8CD}" destId="{4A14B451-9087-4951-8E9C-DDF03385ED6A}" srcOrd="0" destOrd="0" presId="urn:diagrams.loki3.com/BracketList"/>
    <dgm:cxn modelId="{515C2705-6CCB-4F4F-A778-611611DE9D39}" srcId="{A5D70C00-742C-4E9C-8B40-1901126739CC}" destId="{CB4E0755-DEA8-4051-A234-F16090A97757}" srcOrd="1" destOrd="0" parTransId="{C7A1F03A-F27F-4040-AC6C-622225315B01}" sibTransId="{2DDF5E3C-FBE2-4D93-A748-4D061D1189F3}"/>
    <dgm:cxn modelId="{A1A18F3B-49A9-4309-BE83-3EA0629A4FA2}" srcId="{CB8E4D0F-2211-495E-A172-EF062C305EC6}" destId="{DCA11024-5E16-4D96-B807-4E7EB1270AD6}" srcOrd="0" destOrd="0" parTransId="{63793E24-228E-414A-9592-2A59D25AADF4}" sibTransId="{6426374E-009B-4003-92A5-DDB68BE44696}"/>
    <dgm:cxn modelId="{4061D2E9-CFFC-4FFF-8601-AACF9A56FFBA}" type="presOf" srcId="{06EAAA1C-D0D7-44B5-8625-22FC7845E6A9}" destId="{AAA5C83E-748D-46D8-80D0-00E84F632541}" srcOrd="0" destOrd="0" presId="urn:diagrams.loki3.com/BracketList"/>
    <dgm:cxn modelId="{A071D1DE-61D7-4871-A0C5-613E8CE03B14}" type="presParOf" srcId="{399B4183-23AC-4224-90F5-B22F53574D87}" destId="{D8B3AC83-7750-4EA3-A791-3B62AADEA1A2}" srcOrd="0" destOrd="0" presId="urn:diagrams.loki3.com/BracketList"/>
    <dgm:cxn modelId="{4D6C5BD1-950F-4597-86A3-7C60374AEEDB}" type="presParOf" srcId="{D8B3AC83-7750-4EA3-A791-3B62AADEA1A2}" destId="{37834DD5-209D-4AE2-B418-96DB720AB01B}" srcOrd="0" destOrd="0" presId="urn:diagrams.loki3.com/BracketList"/>
    <dgm:cxn modelId="{069FC792-445E-40E6-9B8B-F2D62F89A140}" type="presParOf" srcId="{D8B3AC83-7750-4EA3-A791-3B62AADEA1A2}" destId="{EE622ABD-CFAF-4F14-9510-62B82E56CDBA}" srcOrd="1" destOrd="0" presId="urn:diagrams.loki3.com/BracketList"/>
    <dgm:cxn modelId="{DEBC4B8F-C5E5-4FD6-8553-9449214BE80D}" type="presParOf" srcId="{D8B3AC83-7750-4EA3-A791-3B62AADEA1A2}" destId="{F5435CE4-259E-4703-8251-B3FA11FBC2B2}" srcOrd="2" destOrd="0" presId="urn:diagrams.loki3.com/BracketList"/>
    <dgm:cxn modelId="{30A53E43-68F1-464B-B3BC-CEA0985EB33A}" type="presParOf" srcId="{D8B3AC83-7750-4EA3-A791-3B62AADEA1A2}" destId="{4A14B451-9087-4951-8E9C-DDF03385ED6A}" srcOrd="3" destOrd="0" presId="urn:diagrams.loki3.com/BracketList"/>
    <dgm:cxn modelId="{F2EF48D9-16E1-406B-A97B-604126994910}" type="presParOf" srcId="{399B4183-23AC-4224-90F5-B22F53574D87}" destId="{1F52549C-0AEB-407F-830D-ED018097692B}" srcOrd="1" destOrd="0" presId="urn:diagrams.loki3.com/BracketList"/>
    <dgm:cxn modelId="{B6362A04-1B46-4140-8053-400AB21D6884}" type="presParOf" srcId="{399B4183-23AC-4224-90F5-B22F53574D87}" destId="{DF6712CF-F348-464E-972F-2F204A16D1FE}" srcOrd="2" destOrd="0" presId="urn:diagrams.loki3.com/BracketList"/>
    <dgm:cxn modelId="{E3B3FFF8-F7A3-408C-B986-366732D81BD9}" type="presParOf" srcId="{DF6712CF-F348-464E-972F-2F204A16D1FE}" destId="{D6F0C62D-8322-4581-933D-398BE6C47E0A}" srcOrd="0" destOrd="0" presId="urn:diagrams.loki3.com/BracketList"/>
    <dgm:cxn modelId="{351DA8ED-87F7-4DAF-8904-5E876136DBB8}" type="presParOf" srcId="{DF6712CF-F348-464E-972F-2F204A16D1FE}" destId="{CD24F7B6-08CA-4758-B612-C2A72BC34EFD}" srcOrd="1" destOrd="0" presId="urn:diagrams.loki3.com/BracketList"/>
    <dgm:cxn modelId="{0CF06D69-AC5E-4C8D-9050-C9D517D4E05A}" type="presParOf" srcId="{DF6712CF-F348-464E-972F-2F204A16D1FE}" destId="{51420FE2-263D-4759-97A7-EF842BF19123}" srcOrd="2" destOrd="0" presId="urn:diagrams.loki3.com/BracketList"/>
    <dgm:cxn modelId="{5E9C9211-332D-4EAA-A235-EE0244277B38}" type="presParOf" srcId="{DF6712CF-F348-464E-972F-2F204A16D1FE}" destId="{A8D5CAAC-836F-43EA-B111-6C57EEACA924}" srcOrd="3" destOrd="0" presId="urn:diagrams.loki3.com/BracketList"/>
    <dgm:cxn modelId="{3EC0CC25-F97F-4EDA-A6BB-3C0F21634060}" type="presParOf" srcId="{399B4183-23AC-4224-90F5-B22F53574D87}" destId="{5E7CE048-EF25-450C-8FD9-5B00947461BA}" srcOrd="3" destOrd="0" presId="urn:diagrams.loki3.com/BracketList"/>
    <dgm:cxn modelId="{D27BC280-2AA7-4DCF-A27C-A2F267B04A0D}" type="presParOf" srcId="{399B4183-23AC-4224-90F5-B22F53574D87}" destId="{813FC5E9-8206-42B1-A210-A02B1F78CF69}" srcOrd="4" destOrd="0" presId="urn:diagrams.loki3.com/BracketList"/>
    <dgm:cxn modelId="{BA7D104F-DE50-4F1B-BF7E-10ED1515C62D}" type="presParOf" srcId="{813FC5E9-8206-42B1-A210-A02B1F78CF69}" destId="{47B44FCD-9688-4CFC-8828-653179571BBA}" srcOrd="0" destOrd="0" presId="urn:diagrams.loki3.com/BracketList"/>
    <dgm:cxn modelId="{36450470-2F78-4240-BBFE-8BDD46477F2B}" type="presParOf" srcId="{813FC5E9-8206-42B1-A210-A02B1F78CF69}" destId="{CF159061-390B-4033-8DED-93ED22C50479}" srcOrd="1" destOrd="0" presId="urn:diagrams.loki3.com/BracketList"/>
    <dgm:cxn modelId="{5CCBD0BD-9711-486B-86B4-73A6AE81C490}" type="presParOf" srcId="{813FC5E9-8206-42B1-A210-A02B1F78CF69}" destId="{429B5067-136A-438C-A445-60AD4F938A86}" srcOrd="2" destOrd="0" presId="urn:diagrams.loki3.com/BracketList"/>
    <dgm:cxn modelId="{4F8D82BE-54F9-4C1F-81B8-BC26932AD8F4}" type="presParOf" srcId="{813FC5E9-8206-42B1-A210-A02B1F78CF69}" destId="{97346227-045A-42E4-BA58-8A1C5CD92AB9}" srcOrd="3" destOrd="0" presId="urn:diagrams.loki3.com/BracketList"/>
    <dgm:cxn modelId="{B4279413-C457-402F-BACD-AC9CEA6568BA}" type="presParOf" srcId="{399B4183-23AC-4224-90F5-B22F53574D87}" destId="{3ADD821D-D016-43F0-8CD4-8D6375FDBE11}" srcOrd="5" destOrd="0" presId="urn:diagrams.loki3.com/BracketList"/>
    <dgm:cxn modelId="{D2270314-01EE-4253-89D6-55411BEA2B1C}" type="presParOf" srcId="{399B4183-23AC-4224-90F5-B22F53574D87}" destId="{0DE5B8E9-A7A3-4555-8B34-8BFC2357B53C}" srcOrd="6" destOrd="0" presId="urn:diagrams.loki3.com/BracketList"/>
    <dgm:cxn modelId="{4A6C322E-059D-4579-856C-3B66E7368D6F}" type="presParOf" srcId="{0DE5B8E9-A7A3-4555-8B34-8BFC2357B53C}" destId="{DEC4A9AD-692A-48F2-AF33-6352F68E046F}" srcOrd="0" destOrd="0" presId="urn:diagrams.loki3.com/BracketList"/>
    <dgm:cxn modelId="{9CB8FDDE-E7E2-4AE9-BE75-D88187385D72}" type="presParOf" srcId="{0DE5B8E9-A7A3-4555-8B34-8BFC2357B53C}" destId="{C367414E-38F4-44E0-84F0-29DC6068FBA2}" srcOrd="1" destOrd="0" presId="urn:diagrams.loki3.com/BracketList"/>
    <dgm:cxn modelId="{5963A867-0C16-4ED0-BBD6-B84BDAC7EA2E}" type="presParOf" srcId="{0DE5B8E9-A7A3-4555-8B34-8BFC2357B53C}" destId="{68704556-95C8-470C-A353-8D4F1C0F2CEB}" srcOrd="2" destOrd="0" presId="urn:diagrams.loki3.com/BracketList"/>
    <dgm:cxn modelId="{FFA2747C-F304-41E3-8084-18D5E7ADA951}" type="presParOf" srcId="{0DE5B8E9-A7A3-4555-8B34-8BFC2357B53C}" destId="{AAA5C83E-748D-46D8-80D0-00E84F632541}" srcOrd="3" destOrd="0" presId="urn:diagrams.loki3.com/Bracket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63CD0ED-2600-4C71-866A-93360ABC7B5D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84706FE-7FEA-433F-B79F-B24B57EE8543}">
      <dgm:prSet phldrT="[Text]"/>
      <dgm:spPr/>
      <dgm:t>
        <a:bodyPr/>
        <a:lstStyle/>
        <a:p>
          <a:pPr rtl="0"/>
          <a:r>
            <a:rPr lang="en-US" dirty="0" smtClean="0"/>
            <a:t>Scenario analysis for selected applicable management models of rollout NFV within mobile packet core network</a:t>
          </a:r>
          <a:endParaRPr lang="en-US" dirty="0"/>
        </a:p>
      </dgm:t>
    </dgm:pt>
    <dgm:pt modelId="{BBE38ADF-EF41-4675-B0FC-E7881F527987}" type="parTrans" cxnId="{37DF245D-166C-4280-934C-36C914E31D11}">
      <dgm:prSet/>
      <dgm:spPr/>
      <dgm:t>
        <a:bodyPr/>
        <a:lstStyle/>
        <a:p>
          <a:endParaRPr lang="en-US"/>
        </a:p>
      </dgm:t>
    </dgm:pt>
    <dgm:pt modelId="{42DBAAF1-820E-4CFF-B5C0-BA47415AD7BA}" type="sibTrans" cxnId="{37DF245D-166C-4280-934C-36C914E31D11}">
      <dgm:prSet/>
      <dgm:spPr/>
      <dgm:t>
        <a:bodyPr/>
        <a:lstStyle/>
        <a:p>
          <a:endParaRPr lang="en-US"/>
        </a:p>
      </dgm:t>
    </dgm:pt>
    <dgm:pt modelId="{C1B3FFBA-39E3-47DB-A34D-AF16666DC169}">
      <dgm:prSet phldrT="[Text]"/>
      <dgm:spPr/>
      <dgm:t>
        <a:bodyPr/>
        <a:lstStyle/>
        <a:p>
          <a:pPr rtl="0"/>
          <a:r>
            <a:rPr lang="en-US" dirty="0" smtClean="0"/>
            <a:t>Defining the most fit applicable model for the mobile operator in Palestinian market </a:t>
          </a:r>
          <a:endParaRPr lang="en-US" dirty="0"/>
        </a:p>
      </dgm:t>
    </dgm:pt>
    <dgm:pt modelId="{1761096F-0B02-482A-A22B-C0009A271A27}" type="parTrans" cxnId="{B714E8F9-E7BF-444B-A230-DDB7C51079BF}">
      <dgm:prSet/>
      <dgm:spPr/>
      <dgm:t>
        <a:bodyPr/>
        <a:lstStyle/>
        <a:p>
          <a:endParaRPr lang="en-US"/>
        </a:p>
      </dgm:t>
    </dgm:pt>
    <dgm:pt modelId="{F7E9379A-E432-44FC-8D49-7AE56DF424A6}" type="sibTrans" cxnId="{B714E8F9-E7BF-444B-A230-DDB7C51079BF}">
      <dgm:prSet/>
      <dgm:spPr/>
      <dgm:t>
        <a:bodyPr/>
        <a:lstStyle/>
        <a:p>
          <a:endParaRPr lang="en-US"/>
        </a:p>
      </dgm:t>
    </dgm:pt>
    <dgm:pt modelId="{44D6BFC5-5595-4422-B8D6-CE0A7ECCB016}">
      <dgm:prSet phldrT="[Text]"/>
      <dgm:spPr/>
      <dgm:t>
        <a:bodyPr/>
        <a:lstStyle/>
        <a:p>
          <a:r>
            <a:rPr lang="en-US" dirty="0" smtClean="0"/>
            <a:t>Illustrate the best practices and points that shall be taken in consideration in deploying the NFV model at mobile packet network.</a:t>
          </a:r>
          <a:endParaRPr lang="en-US" dirty="0"/>
        </a:p>
      </dgm:t>
    </dgm:pt>
    <dgm:pt modelId="{97E449F2-05A7-42F2-981D-B5DB318E9D06}" type="parTrans" cxnId="{204F4BDB-00A8-4DB2-9DBA-0463F8D4ABC1}">
      <dgm:prSet/>
      <dgm:spPr/>
      <dgm:t>
        <a:bodyPr/>
        <a:lstStyle/>
        <a:p>
          <a:endParaRPr lang="en-US"/>
        </a:p>
      </dgm:t>
    </dgm:pt>
    <dgm:pt modelId="{C302CF9C-B279-4DE6-999F-409279D7759D}" type="sibTrans" cxnId="{204F4BDB-00A8-4DB2-9DBA-0463F8D4ABC1}">
      <dgm:prSet/>
      <dgm:spPr/>
      <dgm:t>
        <a:bodyPr/>
        <a:lstStyle/>
        <a:p>
          <a:endParaRPr lang="en-US"/>
        </a:p>
      </dgm:t>
    </dgm:pt>
    <dgm:pt modelId="{6B5DE163-DC2D-445B-975C-7BD9FD02B547}">
      <dgm:prSet phldrT="[Text]"/>
      <dgm:spPr/>
      <dgm:t>
        <a:bodyPr/>
        <a:lstStyle/>
        <a:p>
          <a:r>
            <a:rPr lang="en-US" smtClean="0"/>
            <a:t>NFV Selected Model evaluation and benchmark for overall KPIs</a:t>
          </a:r>
          <a:endParaRPr lang="en-US" dirty="0"/>
        </a:p>
      </dgm:t>
    </dgm:pt>
    <dgm:pt modelId="{E4F8CA7A-BA20-4832-BB2C-D25267596F80}" type="parTrans" cxnId="{EDB46B8A-E039-4DBD-B181-7F5052323F2F}">
      <dgm:prSet/>
      <dgm:spPr/>
      <dgm:t>
        <a:bodyPr/>
        <a:lstStyle/>
        <a:p>
          <a:endParaRPr lang="en-US"/>
        </a:p>
      </dgm:t>
    </dgm:pt>
    <dgm:pt modelId="{E1825E7B-A278-4EEB-88A4-E2F85FB61748}" type="sibTrans" cxnId="{EDB46B8A-E039-4DBD-B181-7F5052323F2F}">
      <dgm:prSet/>
      <dgm:spPr/>
      <dgm:t>
        <a:bodyPr/>
        <a:lstStyle/>
        <a:p>
          <a:endParaRPr lang="en-US"/>
        </a:p>
      </dgm:t>
    </dgm:pt>
    <dgm:pt modelId="{67D95959-E6AD-4C2B-884A-EEFCD7705FA3}" type="pres">
      <dgm:prSet presAssocID="{963CD0ED-2600-4C71-866A-93360ABC7B5D}" presName="Name0" presStyleCnt="0">
        <dgm:presLayoutVars>
          <dgm:chMax val="7"/>
          <dgm:chPref val="7"/>
          <dgm:dir/>
        </dgm:presLayoutVars>
      </dgm:prSet>
      <dgm:spPr/>
    </dgm:pt>
    <dgm:pt modelId="{00AB0FD2-520A-4FDB-BB4F-DED23572968B}" type="pres">
      <dgm:prSet presAssocID="{963CD0ED-2600-4C71-866A-93360ABC7B5D}" presName="Name1" presStyleCnt="0"/>
      <dgm:spPr/>
    </dgm:pt>
    <dgm:pt modelId="{722FB1AB-1395-460E-975C-41D36D53DDC0}" type="pres">
      <dgm:prSet presAssocID="{963CD0ED-2600-4C71-866A-93360ABC7B5D}" presName="cycle" presStyleCnt="0"/>
      <dgm:spPr/>
    </dgm:pt>
    <dgm:pt modelId="{6CD52316-90E6-40F1-BADF-981DE7FD80B7}" type="pres">
      <dgm:prSet presAssocID="{963CD0ED-2600-4C71-866A-93360ABC7B5D}" presName="srcNode" presStyleLbl="node1" presStyleIdx="0" presStyleCnt="4"/>
      <dgm:spPr/>
    </dgm:pt>
    <dgm:pt modelId="{50CF5498-AB27-4929-A0A7-75FE9D18DD87}" type="pres">
      <dgm:prSet presAssocID="{963CD0ED-2600-4C71-866A-93360ABC7B5D}" presName="conn" presStyleLbl="parChTrans1D2" presStyleIdx="0" presStyleCnt="1"/>
      <dgm:spPr/>
    </dgm:pt>
    <dgm:pt modelId="{874D77E0-EB2C-4242-90BD-465DB153E101}" type="pres">
      <dgm:prSet presAssocID="{963CD0ED-2600-4C71-866A-93360ABC7B5D}" presName="extraNode" presStyleLbl="node1" presStyleIdx="0" presStyleCnt="4"/>
      <dgm:spPr/>
    </dgm:pt>
    <dgm:pt modelId="{8824342D-DB9A-4BC7-AD37-080EFE9016EE}" type="pres">
      <dgm:prSet presAssocID="{963CD0ED-2600-4C71-866A-93360ABC7B5D}" presName="dstNode" presStyleLbl="node1" presStyleIdx="0" presStyleCnt="4"/>
      <dgm:spPr/>
    </dgm:pt>
    <dgm:pt modelId="{EA405782-6D4C-4408-8A77-5224C822C6CA}" type="pres">
      <dgm:prSet presAssocID="{884706FE-7FEA-433F-B79F-B24B57EE8543}" presName="text_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C7EE77B-4A1D-4CEB-9346-BC557C62730D}" type="pres">
      <dgm:prSet presAssocID="{884706FE-7FEA-433F-B79F-B24B57EE8543}" presName="accent_1" presStyleCnt="0"/>
      <dgm:spPr/>
    </dgm:pt>
    <dgm:pt modelId="{ABB42068-33C1-4C57-A0F4-4334CF12C2DB}" type="pres">
      <dgm:prSet presAssocID="{884706FE-7FEA-433F-B79F-B24B57EE8543}" presName="accentRepeatNode" presStyleLbl="solidFgAcc1" presStyleIdx="0" presStyleCnt="4"/>
      <dgm:spPr/>
    </dgm:pt>
    <dgm:pt modelId="{639BF964-609B-4B5B-9E95-2833E897CBB3}" type="pres">
      <dgm:prSet presAssocID="{C1B3FFBA-39E3-47DB-A34D-AF16666DC169}" presName="text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EEE7EC1-9856-4910-BF94-08D6E5F61BDF}" type="pres">
      <dgm:prSet presAssocID="{C1B3FFBA-39E3-47DB-A34D-AF16666DC169}" presName="accent_2" presStyleCnt="0"/>
      <dgm:spPr/>
    </dgm:pt>
    <dgm:pt modelId="{4EA3E3A8-DD49-43DE-B853-2EFD0C4E314E}" type="pres">
      <dgm:prSet presAssocID="{C1B3FFBA-39E3-47DB-A34D-AF16666DC169}" presName="accentRepeatNode" presStyleLbl="solidFgAcc1" presStyleIdx="1" presStyleCnt="4"/>
      <dgm:spPr/>
    </dgm:pt>
    <dgm:pt modelId="{54B55F27-700B-46FD-BD97-0222C246D60D}" type="pres">
      <dgm:prSet presAssocID="{44D6BFC5-5595-4422-B8D6-CE0A7ECCB016}" presName="text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DFCFC06-1EBF-4320-B138-F6FDC4A3E00D}" type="pres">
      <dgm:prSet presAssocID="{44D6BFC5-5595-4422-B8D6-CE0A7ECCB016}" presName="accent_3" presStyleCnt="0"/>
      <dgm:spPr/>
    </dgm:pt>
    <dgm:pt modelId="{A9047D6D-B4C9-4D63-AE33-8270E6520C9E}" type="pres">
      <dgm:prSet presAssocID="{44D6BFC5-5595-4422-B8D6-CE0A7ECCB016}" presName="accentRepeatNode" presStyleLbl="solidFgAcc1" presStyleIdx="2" presStyleCnt="4"/>
      <dgm:spPr/>
    </dgm:pt>
    <dgm:pt modelId="{6FDD2432-4834-4A31-BE8E-44077BA85A03}" type="pres">
      <dgm:prSet presAssocID="{6B5DE163-DC2D-445B-975C-7BD9FD02B547}" presName="text_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CD5DC95-B985-4919-B97B-C0CD2D8D88AB}" type="pres">
      <dgm:prSet presAssocID="{6B5DE163-DC2D-445B-975C-7BD9FD02B547}" presName="accent_4" presStyleCnt="0"/>
      <dgm:spPr/>
    </dgm:pt>
    <dgm:pt modelId="{16C35329-52BC-4FFD-BADF-BDCF67B88DAC}" type="pres">
      <dgm:prSet presAssocID="{6B5DE163-DC2D-445B-975C-7BD9FD02B547}" presName="accentRepeatNode" presStyleLbl="solidFgAcc1" presStyleIdx="3" presStyleCnt="4"/>
      <dgm:spPr/>
    </dgm:pt>
  </dgm:ptLst>
  <dgm:cxnLst>
    <dgm:cxn modelId="{37DF245D-166C-4280-934C-36C914E31D11}" srcId="{963CD0ED-2600-4C71-866A-93360ABC7B5D}" destId="{884706FE-7FEA-433F-B79F-B24B57EE8543}" srcOrd="0" destOrd="0" parTransId="{BBE38ADF-EF41-4675-B0FC-E7881F527987}" sibTransId="{42DBAAF1-820E-4CFF-B5C0-BA47415AD7BA}"/>
    <dgm:cxn modelId="{204F4BDB-00A8-4DB2-9DBA-0463F8D4ABC1}" srcId="{963CD0ED-2600-4C71-866A-93360ABC7B5D}" destId="{44D6BFC5-5595-4422-B8D6-CE0A7ECCB016}" srcOrd="2" destOrd="0" parTransId="{97E449F2-05A7-42F2-981D-B5DB318E9D06}" sibTransId="{C302CF9C-B279-4DE6-999F-409279D7759D}"/>
    <dgm:cxn modelId="{1B86B3E8-6C9B-465A-9CBA-D4F3E772F6DD}" type="presOf" srcId="{42DBAAF1-820E-4CFF-B5C0-BA47415AD7BA}" destId="{50CF5498-AB27-4929-A0A7-75FE9D18DD87}" srcOrd="0" destOrd="0" presId="urn:microsoft.com/office/officeart/2008/layout/VerticalCurvedList"/>
    <dgm:cxn modelId="{8421EF87-38A7-4194-8138-95F3B4332BD3}" type="presOf" srcId="{44D6BFC5-5595-4422-B8D6-CE0A7ECCB016}" destId="{54B55F27-700B-46FD-BD97-0222C246D60D}" srcOrd="0" destOrd="0" presId="urn:microsoft.com/office/officeart/2008/layout/VerticalCurvedList"/>
    <dgm:cxn modelId="{747DD192-6DD7-4D95-8F93-B7097C31201C}" type="presOf" srcId="{963CD0ED-2600-4C71-866A-93360ABC7B5D}" destId="{67D95959-E6AD-4C2B-884A-EEFCD7705FA3}" srcOrd="0" destOrd="0" presId="urn:microsoft.com/office/officeart/2008/layout/VerticalCurvedList"/>
    <dgm:cxn modelId="{B714E8F9-E7BF-444B-A230-DDB7C51079BF}" srcId="{963CD0ED-2600-4C71-866A-93360ABC7B5D}" destId="{C1B3FFBA-39E3-47DB-A34D-AF16666DC169}" srcOrd="1" destOrd="0" parTransId="{1761096F-0B02-482A-A22B-C0009A271A27}" sibTransId="{F7E9379A-E432-44FC-8D49-7AE56DF424A6}"/>
    <dgm:cxn modelId="{20E6D995-6DFE-4B36-8888-672AEE65E1BA}" type="presOf" srcId="{6B5DE163-DC2D-445B-975C-7BD9FD02B547}" destId="{6FDD2432-4834-4A31-BE8E-44077BA85A03}" srcOrd="0" destOrd="0" presId="urn:microsoft.com/office/officeart/2008/layout/VerticalCurvedList"/>
    <dgm:cxn modelId="{EDB46B8A-E039-4DBD-B181-7F5052323F2F}" srcId="{963CD0ED-2600-4C71-866A-93360ABC7B5D}" destId="{6B5DE163-DC2D-445B-975C-7BD9FD02B547}" srcOrd="3" destOrd="0" parTransId="{E4F8CA7A-BA20-4832-BB2C-D25267596F80}" sibTransId="{E1825E7B-A278-4EEB-88A4-E2F85FB61748}"/>
    <dgm:cxn modelId="{FB24A01E-E0A2-4469-BCBF-4B645FC7FADC}" type="presOf" srcId="{C1B3FFBA-39E3-47DB-A34D-AF16666DC169}" destId="{639BF964-609B-4B5B-9E95-2833E897CBB3}" srcOrd="0" destOrd="0" presId="urn:microsoft.com/office/officeart/2008/layout/VerticalCurvedList"/>
    <dgm:cxn modelId="{DD063075-928A-40F9-9204-B082A66A227E}" type="presOf" srcId="{884706FE-7FEA-433F-B79F-B24B57EE8543}" destId="{EA405782-6D4C-4408-8A77-5224C822C6CA}" srcOrd="0" destOrd="0" presId="urn:microsoft.com/office/officeart/2008/layout/VerticalCurvedList"/>
    <dgm:cxn modelId="{61EFD19E-6E6E-4D04-8046-F6936F144C5C}" type="presParOf" srcId="{67D95959-E6AD-4C2B-884A-EEFCD7705FA3}" destId="{00AB0FD2-520A-4FDB-BB4F-DED23572968B}" srcOrd="0" destOrd="0" presId="urn:microsoft.com/office/officeart/2008/layout/VerticalCurvedList"/>
    <dgm:cxn modelId="{D77BF151-8079-42EC-BCE5-580F49CB523C}" type="presParOf" srcId="{00AB0FD2-520A-4FDB-BB4F-DED23572968B}" destId="{722FB1AB-1395-460E-975C-41D36D53DDC0}" srcOrd="0" destOrd="0" presId="urn:microsoft.com/office/officeart/2008/layout/VerticalCurvedList"/>
    <dgm:cxn modelId="{89D924CA-F07E-40EC-AF7F-0CB68E6B2DE3}" type="presParOf" srcId="{722FB1AB-1395-460E-975C-41D36D53DDC0}" destId="{6CD52316-90E6-40F1-BADF-981DE7FD80B7}" srcOrd="0" destOrd="0" presId="urn:microsoft.com/office/officeart/2008/layout/VerticalCurvedList"/>
    <dgm:cxn modelId="{DA2E2E32-E6D4-4703-9329-A56493C3D891}" type="presParOf" srcId="{722FB1AB-1395-460E-975C-41D36D53DDC0}" destId="{50CF5498-AB27-4929-A0A7-75FE9D18DD87}" srcOrd="1" destOrd="0" presId="urn:microsoft.com/office/officeart/2008/layout/VerticalCurvedList"/>
    <dgm:cxn modelId="{1DF1D550-19B3-4984-9811-335695AAB51A}" type="presParOf" srcId="{722FB1AB-1395-460E-975C-41D36D53DDC0}" destId="{874D77E0-EB2C-4242-90BD-465DB153E101}" srcOrd="2" destOrd="0" presId="urn:microsoft.com/office/officeart/2008/layout/VerticalCurvedList"/>
    <dgm:cxn modelId="{A5463D8B-F710-4F8A-B90B-72B1926F1147}" type="presParOf" srcId="{722FB1AB-1395-460E-975C-41D36D53DDC0}" destId="{8824342D-DB9A-4BC7-AD37-080EFE9016EE}" srcOrd="3" destOrd="0" presId="urn:microsoft.com/office/officeart/2008/layout/VerticalCurvedList"/>
    <dgm:cxn modelId="{83AA226F-793D-4F21-9C71-1040DCB7BD5B}" type="presParOf" srcId="{00AB0FD2-520A-4FDB-BB4F-DED23572968B}" destId="{EA405782-6D4C-4408-8A77-5224C822C6CA}" srcOrd="1" destOrd="0" presId="urn:microsoft.com/office/officeart/2008/layout/VerticalCurvedList"/>
    <dgm:cxn modelId="{AF33781B-E750-406B-A2D0-942C026003B3}" type="presParOf" srcId="{00AB0FD2-520A-4FDB-BB4F-DED23572968B}" destId="{EC7EE77B-4A1D-4CEB-9346-BC557C62730D}" srcOrd="2" destOrd="0" presId="urn:microsoft.com/office/officeart/2008/layout/VerticalCurvedList"/>
    <dgm:cxn modelId="{AFF8DDF8-CB23-43EE-AA96-635FA9537DC8}" type="presParOf" srcId="{EC7EE77B-4A1D-4CEB-9346-BC557C62730D}" destId="{ABB42068-33C1-4C57-A0F4-4334CF12C2DB}" srcOrd="0" destOrd="0" presId="urn:microsoft.com/office/officeart/2008/layout/VerticalCurvedList"/>
    <dgm:cxn modelId="{EE4D11BA-FED0-4E70-A2DF-198840E0CB24}" type="presParOf" srcId="{00AB0FD2-520A-4FDB-BB4F-DED23572968B}" destId="{639BF964-609B-4B5B-9E95-2833E897CBB3}" srcOrd="3" destOrd="0" presId="urn:microsoft.com/office/officeart/2008/layout/VerticalCurvedList"/>
    <dgm:cxn modelId="{6AC84B9F-3576-428F-BFBD-CDADD0E7007E}" type="presParOf" srcId="{00AB0FD2-520A-4FDB-BB4F-DED23572968B}" destId="{BEEE7EC1-9856-4910-BF94-08D6E5F61BDF}" srcOrd="4" destOrd="0" presId="urn:microsoft.com/office/officeart/2008/layout/VerticalCurvedList"/>
    <dgm:cxn modelId="{F8913EE8-77EA-4397-B2B8-EC71636B29D1}" type="presParOf" srcId="{BEEE7EC1-9856-4910-BF94-08D6E5F61BDF}" destId="{4EA3E3A8-DD49-43DE-B853-2EFD0C4E314E}" srcOrd="0" destOrd="0" presId="urn:microsoft.com/office/officeart/2008/layout/VerticalCurvedList"/>
    <dgm:cxn modelId="{015E20D2-600F-4DC0-AA6B-4BB9AD42A90E}" type="presParOf" srcId="{00AB0FD2-520A-4FDB-BB4F-DED23572968B}" destId="{54B55F27-700B-46FD-BD97-0222C246D60D}" srcOrd="5" destOrd="0" presId="urn:microsoft.com/office/officeart/2008/layout/VerticalCurvedList"/>
    <dgm:cxn modelId="{CF576D9D-D1A7-4E58-BA04-6CD088A6EB53}" type="presParOf" srcId="{00AB0FD2-520A-4FDB-BB4F-DED23572968B}" destId="{1DFCFC06-1EBF-4320-B138-F6FDC4A3E00D}" srcOrd="6" destOrd="0" presId="urn:microsoft.com/office/officeart/2008/layout/VerticalCurvedList"/>
    <dgm:cxn modelId="{A0F95125-088A-46B8-8AEA-AE1B0B47A7AB}" type="presParOf" srcId="{1DFCFC06-1EBF-4320-B138-F6FDC4A3E00D}" destId="{A9047D6D-B4C9-4D63-AE33-8270E6520C9E}" srcOrd="0" destOrd="0" presId="urn:microsoft.com/office/officeart/2008/layout/VerticalCurvedList"/>
    <dgm:cxn modelId="{A00F068D-2A0C-4457-83B8-DE3E2AFCD961}" type="presParOf" srcId="{00AB0FD2-520A-4FDB-BB4F-DED23572968B}" destId="{6FDD2432-4834-4A31-BE8E-44077BA85A03}" srcOrd="7" destOrd="0" presId="urn:microsoft.com/office/officeart/2008/layout/VerticalCurvedList"/>
    <dgm:cxn modelId="{088D1DC6-3181-43AE-AAFE-918CBFF4602D}" type="presParOf" srcId="{00AB0FD2-520A-4FDB-BB4F-DED23572968B}" destId="{5CD5DC95-B985-4919-B97B-C0CD2D8D88AB}" srcOrd="8" destOrd="0" presId="urn:microsoft.com/office/officeart/2008/layout/VerticalCurvedList"/>
    <dgm:cxn modelId="{76D17268-DD9A-412C-814E-6971536ED39B}" type="presParOf" srcId="{5CD5DC95-B985-4919-B97B-C0CD2D8D88AB}" destId="{16C35329-52BC-4FFD-BADF-BDCF67B88DAC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3FBC741-CFDF-49F5-95CD-01242BEB4019}">
      <dsp:nvSpPr>
        <dsp:cNvPr id="0" name=""/>
        <dsp:cNvSpPr/>
      </dsp:nvSpPr>
      <dsp:spPr>
        <a:xfrm>
          <a:off x="0" y="0"/>
          <a:ext cx="81280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C31CDFB-1561-491F-A6FE-2AA02909497C}">
      <dsp:nvSpPr>
        <dsp:cNvPr id="0" name=""/>
        <dsp:cNvSpPr/>
      </dsp:nvSpPr>
      <dsp:spPr>
        <a:xfrm>
          <a:off x="0" y="0"/>
          <a:ext cx="1625600" cy="541866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8110" tIns="118110" rIns="118110" bIns="118110" numCol="1" spcCol="1270" anchor="t" anchorCtr="0">
          <a:noAutofit/>
        </a:bodyPr>
        <a:lstStyle/>
        <a:p>
          <a:pPr lvl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100" kern="1200" dirty="0" smtClean="0">
              <a:solidFill>
                <a:srgbClr val="C00000"/>
              </a:solidFill>
              <a:ea typeface="+mj-ea"/>
              <a:cs typeface="Calibri" pitchFamily="34" charset="0"/>
            </a:rPr>
            <a:t>Outline</a:t>
          </a:r>
          <a:endParaRPr lang="en-US" sz="3100" kern="1200" dirty="0">
            <a:solidFill>
              <a:srgbClr val="C00000"/>
            </a:solidFill>
            <a:ea typeface="+mj-ea"/>
            <a:cs typeface="Calibri" pitchFamily="34" charset="0"/>
          </a:endParaRPr>
        </a:p>
      </dsp:txBody>
      <dsp:txXfrm>
        <a:off x="0" y="0"/>
        <a:ext cx="1625600" cy="5418667"/>
      </dsp:txXfrm>
    </dsp:sp>
    <dsp:sp modelId="{A48183B3-8C71-49E3-930A-017329413E70}">
      <dsp:nvSpPr>
        <dsp:cNvPr id="0" name=""/>
        <dsp:cNvSpPr/>
      </dsp:nvSpPr>
      <dsp:spPr>
        <a:xfrm>
          <a:off x="1747520" y="36578"/>
          <a:ext cx="6380480" cy="7315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lvl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>
              <a:solidFill>
                <a:srgbClr val="C00000"/>
              </a:solidFill>
              <a:ea typeface="+mj-ea"/>
              <a:cs typeface="Calibri" pitchFamily="34" charset="0"/>
            </a:rPr>
            <a:t>Introduction</a:t>
          </a:r>
          <a:endParaRPr lang="en-US" sz="3300" kern="1200" dirty="0">
            <a:solidFill>
              <a:srgbClr val="C00000"/>
            </a:solidFill>
            <a:ea typeface="+mj-ea"/>
            <a:cs typeface="Calibri" pitchFamily="34" charset="0"/>
          </a:endParaRPr>
        </a:p>
      </dsp:txBody>
      <dsp:txXfrm>
        <a:off x="1747520" y="36578"/>
        <a:ext cx="6380480" cy="731572"/>
      </dsp:txXfrm>
    </dsp:sp>
    <dsp:sp modelId="{DF5A9955-D65E-4DC1-8C4A-C3EDBB5E4755}">
      <dsp:nvSpPr>
        <dsp:cNvPr id="0" name=""/>
        <dsp:cNvSpPr/>
      </dsp:nvSpPr>
      <dsp:spPr>
        <a:xfrm>
          <a:off x="1625599" y="768151"/>
          <a:ext cx="65024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BCADF10-5416-4B7C-9C73-F3F529BB77FB}">
      <dsp:nvSpPr>
        <dsp:cNvPr id="0" name=""/>
        <dsp:cNvSpPr/>
      </dsp:nvSpPr>
      <dsp:spPr>
        <a:xfrm>
          <a:off x="1747520" y="804730"/>
          <a:ext cx="6380480" cy="7315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lvl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>
              <a:solidFill>
                <a:srgbClr val="C00000"/>
              </a:solidFill>
              <a:ea typeface="+mj-ea"/>
              <a:cs typeface="Calibri" pitchFamily="34" charset="0"/>
            </a:rPr>
            <a:t>Literature Review </a:t>
          </a:r>
          <a:endParaRPr lang="en-US" sz="3300" kern="1200" dirty="0"/>
        </a:p>
      </dsp:txBody>
      <dsp:txXfrm>
        <a:off x="1747520" y="804730"/>
        <a:ext cx="6380480" cy="731572"/>
      </dsp:txXfrm>
    </dsp:sp>
    <dsp:sp modelId="{C45703A1-1A4C-4FA2-A329-9B1D0A23B5C5}">
      <dsp:nvSpPr>
        <dsp:cNvPr id="0" name=""/>
        <dsp:cNvSpPr/>
      </dsp:nvSpPr>
      <dsp:spPr>
        <a:xfrm>
          <a:off x="1625599" y="1536303"/>
          <a:ext cx="65024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A55A809-AB3C-4717-8A7D-72908B44EC07}">
      <dsp:nvSpPr>
        <dsp:cNvPr id="0" name=""/>
        <dsp:cNvSpPr/>
      </dsp:nvSpPr>
      <dsp:spPr>
        <a:xfrm>
          <a:off x="1747520" y="1572881"/>
          <a:ext cx="6380480" cy="7315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lvl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>
              <a:solidFill>
                <a:srgbClr val="C00000"/>
              </a:solidFill>
              <a:ea typeface="+mj-ea"/>
              <a:cs typeface="Calibri" pitchFamily="34" charset="0"/>
            </a:rPr>
            <a:t>Research Problem  </a:t>
          </a:r>
          <a:endParaRPr lang="en-US" sz="3300" kern="1200" dirty="0"/>
        </a:p>
      </dsp:txBody>
      <dsp:txXfrm>
        <a:off x="1747520" y="1572881"/>
        <a:ext cx="6380480" cy="731572"/>
      </dsp:txXfrm>
    </dsp:sp>
    <dsp:sp modelId="{22109C6E-6C7A-48C3-A853-16201401B80B}">
      <dsp:nvSpPr>
        <dsp:cNvPr id="0" name=""/>
        <dsp:cNvSpPr/>
      </dsp:nvSpPr>
      <dsp:spPr>
        <a:xfrm>
          <a:off x="1625599" y="2304454"/>
          <a:ext cx="65024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D8BF4DC-0774-4458-AC0F-92B6DB964DBA}">
      <dsp:nvSpPr>
        <dsp:cNvPr id="0" name=""/>
        <dsp:cNvSpPr/>
      </dsp:nvSpPr>
      <dsp:spPr>
        <a:xfrm>
          <a:off x="1747520" y="2341033"/>
          <a:ext cx="6380480" cy="7315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lvl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>
              <a:solidFill>
                <a:srgbClr val="C00000"/>
              </a:solidFill>
              <a:ea typeface="+mj-ea"/>
              <a:cs typeface="Calibri" pitchFamily="34" charset="0"/>
            </a:rPr>
            <a:t>Research Questions  </a:t>
          </a:r>
        </a:p>
      </dsp:txBody>
      <dsp:txXfrm>
        <a:off x="1747520" y="2341033"/>
        <a:ext cx="6380480" cy="731572"/>
      </dsp:txXfrm>
    </dsp:sp>
    <dsp:sp modelId="{33761945-E023-479C-8237-68694866D438}">
      <dsp:nvSpPr>
        <dsp:cNvPr id="0" name=""/>
        <dsp:cNvSpPr/>
      </dsp:nvSpPr>
      <dsp:spPr>
        <a:xfrm>
          <a:off x="1625599" y="3072606"/>
          <a:ext cx="65024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A120EE1-52FB-4C66-94EB-3F899F4ED1BD}">
      <dsp:nvSpPr>
        <dsp:cNvPr id="0" name=""/>
        <dsp:cNvSpPr/>
      </dsp:nvSpPr>
      <dsp:spPr>
        <a:xfrm>
          <a:off x="1747520" y="3109185"/>
          <a:ext cx="6380480" cy="7315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lvl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>
              <a:solidFill>
                <a:srgbClr val="C00000"/>
              </a:solidFill>
              <a:ea typeface="+mj-ea"/>
              <a:cs typeface="Calibri" pitchFamily="34" charset="0"/>
            </a:rPr>
            <a:t>Objectives </a:t>
          </a:r>
        </a:p>
      </dsp:txBody>
      <dsp:txXfrm>
        <a:off x="1747520" y="3109185"/>
        <a:ext cx="6380480" cy="731572"/>
      </dsp:txXfrm>
    </dsp:sp>
    <dsp:sp modelId="{2D55A044-E98F-4543-A8C7-61B6CDB1A50A}">
      <dsp:nvSpPr>
        <dsp:cNvPr id="0" name=""/>
        <dsp:cNvSpPr/>
      </dsp:nvSpPr>
      <dsp:spPr>
        <a:xfrm>
          <a:off x="1625599" y="3840758"/>
          <a:ext cx="65024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8F51C5D-0117-4C43-AD71-05C3048D1EDB}">
      <dsp:nvSpPr>
        <dsp:cNvPr id="0" name=""/>
        <dsp:cNvSpPr/>
      </dsp:nvSpPr>
      <dsp:spPr>
        <a:xfrm>
          <a:off x="1747520" y="3877336"/>
          <a:ext cx="6380480" cy="7315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lvl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>
              <a:solidFill>
                <a:srgbClr val="C00000"/>
              </a:solidFill>
              <a:ea typeface="+mj-ea"/>
              <a:cs typeface="Calibri" pitchFamily="34" charset="0"/>
            </a:rPr>
            <a:t>Methodology  </a:t>
          </a:r>
        </a:p>
      </dsp:txBody>
      <dsp:txXfrm>
        <a:off x="1747520" y="3877336"/>
        <a:ext cx="6380480" cy="731572"/>
      </dsp:txXfrm>
    </dsp:sp>
    <dsp:sp modelId="{0F8DB599-703C-4998-A976-0311BD7D4C08}">
      <dsp:nvSpPr>
        <dsp:cNvPr id="0" name=""/>
        <dsp:cNvSpPr/>
      </dsp:nvSpPr>
      <dsp:spPr>
        <a:xfrm>
          <a:off x="1625599" y="4608909"/>
          <a:ext cx="65024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8EDFDBA-0AED-4FBE-8791-9A013D399D54}">
      <dsp:nvSpPr>
        <dsp:cNvPr id="0" name=""/>
        <dsp:cNvSpPr/>
      </dsp:nvSpPr>
      <dsp:spPr>
        <a:xfrm>
          <a:off x="1747520" y="4645488"/>
          <a:ext cx="6380480" cy="7315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lvl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>
              <a:solidFill>
                <a:srgbClr val="C00000"/>
              </a:solidFill>
              <a:ea typeface="+mj-ea"/>
              <a:cs typeface="Calibri" pitchFamily="34" charset="0"/>
            </a:rPr>
            <a:t>Deliverables   </a:t>
          </a:r>
        </a:p>
      </dsp:txBody>
      <dsp:txXfrm>
        <a:off x="1747520" y="4645488"/>
        <a:ext cx="6380480" cy="731572"/>
      </dsp:txXfrm>
    </dsp:sp>
    <dsp:sp modelId="{6D08BB01-0535-4B6D-85EB-1625BAD75230}">
      <dsp:nvSpPr>
        <dsp:cNvPr id="0" name=""/>
        <dsp:cNvSpPr/>
      </dsp:nvSpPr>
      <dsp:spPr>
        <a:xfrm>
          <a:off x="1625599" y="5377061"/>
          <a:ext cx="65024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BD724-6287-4796-BD21-F19E109E6FDE}">
      <dsp:nvSpPr>
        <dsp:cNvPr id="0" name=""/>
        <dsp:cNvSpPr/>
      </dsp:nvSpPr>
      <dsp:spPr>
        <a:xfrm rot="5400000">
          <a:off x="-288473" y="288938"/>
          <a:ext cx="1923154" cy="1346208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495" tIns="23495" rIns="23495" bIns="23495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700" kern="1200" dirty="0" smtClean="0"/>
            <a:t>65% </a:t>
          </a:r>
          <a:endParaRPr lang="en-US" sz="3700" kern="1200" dirty="0"/>
        </a:p>
      </dsp:txBody>
      <dsp:txXfrm rot="-5400000">
        <a:off x="0" y="673569"/>
        <a:ext cx="1346208" cy="576946"/>
      </dsp:txXfrm>
    </dsp:sp>
    <dsp:sp modelId="{3B10E991-1923-43FB-A6CA-15B183B448AC}">
      <dsp:nvSpPr>
        <dsp:cNvPr id="0" name=""/>
        <dsp:cNvSpPr/>
      </dsp:nvSpPr>
      <dsp:spPr>
        <a:xfrm rot="5400000">
          <a:off x="3674506" y="-2327832"/>
          <a:ext cx="1250050" cy="590664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4912" tIns="16510" rIns="16510" bIns="16510" numCol="1" spcCol="1270" anchor="ctr" anchorCtr="0">
          <a:noAutofit/>
        </a:bodyPr>
        <a:lstStyle/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600" kern="1200" dirty="0" smtClean="0"/>
            <a:t>Smartphone adoption is accelerating in developed countries .</a:t>
          </a:r>
          <a:endParaRPr lang="en-US" sz="2600" kern="1200" dirty="0"/>
        </a:p>
      </dsp:txBody>
      <dsp:txXfrm rot="-5400000">
        <a:off x="1346208" y="61488"/>
        <a:ext cx="5845624" cy="1128006"/>
      </dsp:txXfrm>
    </dsp:sp>
    <dsp:sp modelId="{87D7E0CB-2648-416D-91D7-4BCC2C3C31B9}">
      <dsp:nvSpPr>
        <dsp:cNvPr id="0" name=""/>
        <dsp:cNvSpPr/>
      </dsp:nvSpPr>
      <dsp:spPr>
        <a:xfrm rot="5400000">
          <a:off x="-288473" y="2020891"/>
          <a:ext cx="1923154" cy="1346208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495" tIns="23495" rIns="23495" bIns="23495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700" kern="1200" dirty="0" smtClean="0"/>
            <a:t>40% </a:t>
          </a:r>
          <a:endParaRPr lang="en-US" sz="3700" kern="1200" dirty="0"/>
        </a:p>
      </dsp:txBody>
      <dsp:txXfrm rot="-5400000">
        <a:off x="0" y="2405522"/>
        <a:ext cx="1346208" cy="576946"/>
      </dsp:txXfrm>
    </dsp:sp>
    <dsp:sp modelId="{DBF0FA4B-F6B0-4519-A474-67FCA9F30568}">
      <dsp:nvSpPr>
        <dsp:cNvPr id="0" name=""/>
        <dsp:cNvSpPr/>
      </dsp:nvSpPr>
      <dsp:spPr>
        <a:xfrm rot="5400000">
          <a:off x="3674506" y="-595879"/>
          <a:ext cx="1250050" cy="590664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4912" tIns="16510" rIns="16510" bIns="16510" numCol="1" spcCol="1270" anchor="ctr" anchorCtr="0">
          <a:noAutofit/>
        </a:bodyPr>
        <a:lstStyle/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600" kern="1200" dirty="0" smtClean="0"/>
            <a:t>Smartphone adoption is Accelerating in developing countries. </a:t>
          </a:r>
          <a:endParaRPr lang="en-US" sz="2600" kern="1200" dirty="0"/>
        </a:p>
      </dsp:txBody>
      <dsp:txXfrm rot="-5400000">
        <a:off x="1346208" y="1793441"/>
        <a:ext cx="5845624" cy="1128006"/>
      </dsp:txXfrm>
    </dsp:sp>
    <dsp:sp modelId="{66F09F6A-B7CD-4822-A2CA-03FBB9ACF353}">
      <dsp:nvSpPr>
        <dsp:cNvPr id="0" name=""/>
        <dsp:cNvSpPr/>
      </dsp:nvSpPr>
      <dsp:spPr>
        <a:xfrm rot="5400000">
          <a:off x="-288473" y="3752844"/>
          <a:ext cx="1923154" cy="1346208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495" tIns="23495" rIns="23495" bIns="23495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700" kern="1200" dirty="0" smtClean="0"/>
            <a:t>90%.  </a:t>
          </a:r>
          <a:endParaRPr lang="en-US" sz="3700" kern="1200" dirty="0"/>
        </a:p>
      </dsp:txBody>
      <dsp:txXfrm rot="-5400000">
        <a:off x="0" y="4137475"/>
        <a:ext cx="1346208" cy="576946"/>
      </dsp:txXfrm>
    </dsp:sp>
    <dsp:sp modelId="{ECBFF8AB-6979-4698-B66C-B044A38DDE51}">
      <dsp:nvSpPr>
        <dsp:cNvPr id="0" name=""/>
        <dsp:cNvSpPr/>
      </dsp:nvSpPr>
      <dsp:spPr>
        <a:xfrm rot="5400000">
          <a:off x="3674506" y="1136072"/>
          <a:ext cx="1250050" cy="590664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4912" tIns="16510" rIns="16510" bIns="16510" numCol="1" spcCol="1270" anchor="ctr" anchorCtr="0">
          <a:noAutofit/>
        </a:bodyPr>
        <a:lstStyle/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600" kern="1200" dirty="0" smtClean="0"/>
            <a:t>Its potential to reach by 2020</a:t>
          </a:r>
          <a:endParaRPr lang="en-US" sz="2600" kern="1200" dirty="0"/>
        </a:p>
      </dsp:txBody>
      <dsp:txXfrm rot="-5400000">
        <a:off x="1346208" y="3525392"/>
        <a:ext cx="5845624" cy="112800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02A4FEF-ADB8-4C7A-A182-0B7BE5EBF83E}">
      <dsp:nvSpPr>
        <dsp:cNvPr id="0" name=""/>
        <dsp:cNvSpPr/>
      </dsp:nvSpPr>
      <dsp:spPr>
        <a:xfrm>
          <a:off x="0" y="684981"/>
          <a:ext cx="11548532" cy="201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4836250-0738-4114-9B13-6685CCF81A89}">
      <dsp:nvSpPr>
        <dsp:cNvPr id="0" name=""/>
        <dsp:cNvSpPr/>
      </dsp:nvSpPr>
      <dsp:spPr>
        <a:xfrm>
          <a:off x="577426" y="245567"/>
          <a:ext cx="8083972" cy="557493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5555" tIns="0" rIns="305555" bIns="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What the current EPC architecture and its related issues?</a:t>
          </a:r>
          <a:endParaRPr lang="en-US" sz="1400" kern="1200" dirty="0"/>
        </a:p>
      </dsp:txBody>
      <dsp:txXfrm>
        <a:off x="604641" y="272782"/>
        <a:ext cx="8029542" cy="503063"/>
      </dsp:txXfrm>
    </dsp:sp>
    <dsp:sp modelId="{9B3DDBB6-1345-48E9-B014-59C24B917B88}">
      <dsp:nvSpPr>
        <dsp:cNvPr id="0" name=""/>
        <dsp:cNvSpPr/>
      </dsp:nvSpPr>
      <dsp:spPr>
        <a:xfrm>
          <a:off x="0" y="1369194"/>
          <a:ext cx="11548532" cy="201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1DB21C-402A-4E13-89A3-5560FFAA333B}">
      <dsp:nvSpPr>
        <dsp:cNvPr id="0" name=""/>
        <dsp:cNvSpPr/>
      </dsp:nvSpPr>
      <dsp:spPr>
        <a:xfrm>
          <a:off x="577426" y="929781"/>
          <a:ext cx="8083972" cy="557493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5555" tIns="0" rIns="305555" bIns="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How to plan for NFV from business prospective considering the technical and financial aspects?</a:t>
          </a:r>
          <a:endParaRPr lang="en-US" sz="1400" kern="1200" dirty="0"/>
        </a:p>
      </dsp:txBody>
      <dsp:txXfrm>
        <a:off x="604641" y="956996"/>
        <a:ext cx="8029542" cy="503063"/>
      </dsp:txXfrm>
    </dsp:sp>
    <dsp:sp modelId="{55CD628D-4FE9-49CC-9C7B-AA59F6B97B8A}">
      <dsp:nvSpPr>
        <dsp:cNvPr id="0" name=""/>
        <dsp:cNvSpPr/>
      </dsp:nvSpPr>
      <dsp:spPr>
        <a:xfrm>
          <a:off x="0" y="2053408"/>
          <a:ext cx="11548532" cy="201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1C22531-C9CA-4825-ADC5-7FCAAEC32B93}">
      <dsp:nvSpPr>
        <dsp:cNvPr id="0" name=""/>
        <dsp:cNvSpPr/>
      </dsp:nvSpPr>
      <dsp:spPr>
        <a:xfrm>
          <a:off x="577426" y="1613994"/>
          <a:ext cx="8083972" cy="557493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5555" tIns="0" rIns="305555" bIns="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What are the suitable management models to transform the legacy evolved packet core network to NFV?</a:t>
          </a:r>
          <a:endParaRPr lang="en-US" sz="1400" kern="1200" dirty="0"/>
        </a:p>
      </dsp:txBody>
      <dsp:txXfrm>
        <a:off x="604641" y="1641209"/>
        <a:ext cx="8029542" cy="503063"/>
      </dsp:txXfrm>
    </dsp:sp>
    <dsp:sp modelId="{D3FFC89D-478C-46E7-9455-FB5B41AD876C}">
      <dsp:nvSpPr>
        <dsp:cNvPr id="0" name=""/>
        <dsp:cNvSpPr/>
      </dsp:nvSpPr>
      <dsp:spPr>
        <a:xfrm>
          <a:off x="0" y="2737621"/>
          <a:ext cx="11548532" cy="201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1A6291D-7609-4899-80ED-930698DBFE64}">
      <dsp:nvSpPr>
        <dsp:cNvPr id="0" name=""/>
        <dsp:cNvSpPr/>
      </dsp:nvSpPr>
      <dsp:spPr>
        <a:xfrm>
          <a:off x="577426" y="2298208"/>
          <a:ext cx="8083972" cy="557493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5555" tIns="0" rIns="305555" bIns="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How NFV will contribute in resources optimization in terms of cost and capacity?</a:t>
          </a:r>
          <a:endParaRPr lang="en-US" sz="1400" kern="1200" dirty="0"/>
        </a:p>
      </dsp:txBody>
      <dsp:txXfrm>
        <a:off x="604641" y="2325423"/>
        <a:ext cx="8029542" cy="503063"/>
      </dsp:txXfrm>
    </dsp:sp>
    <dsp:sp modelId="{BB128A51-2C32-418B-9BAA-649B951D00BF}">
      <dsp:nvSpPr>
        <dsp:cNvPr id="0" name=""/>
        <dsp:cNvSpPr/>
      </dsp:nvSpPr>
      <dsp:spPr>
        <a:xfrm>
          <a:off x="0" y="3421834"/>
          <a:ext cx="11548532" cy="201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A148633-50FB-4E8B-ADFF-6E46A9CF42C8}">
      <dsp:nvSpPr>
        <dsp:cNvPr id="0" name=""/>
        <dsp:cNvSpPr/>
      </dsp:nvSpPr>
      <dsp:spPr>
        <a:xfrm>
          <a:off x="577426" y="2982421"/>
          <a:ext cx="8083972" cy="557493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5555" tIns="0" rIns="305555" bIns="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What are the effects of NFV on overall KPIs that related to customer and mobile operators?</a:t>
          </a:r>
          <a:endParaRPr lang="en-US" sz="1400" kern="1200" dirty="0"/>
        </a:p>
      </dsp:txBody>
      <dsp:txXfrm>
        <a:off x="604641" y="3009636"/>
        <a:ext cx="8029542" cy="503063"/>
      </dsp:txXfrm>
    </dsp:sp>
    <dsp:sp modelId="{DE6D102D-7E84-49E2-9627-B37BA8E96ADE}">
      <dsp:nvSpPr>
        <dsp:cNvPr id="0" name=""/>
        <dsp:cNvSpPr/>
      </dsp:nvSpPr>
      <dsp:spPr>
        <a:xfrm>
          <a:off x="0" y="4106048"/>
          <a:ext cx="11548532" cy="201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901935B-B69D-474A-83B5-FFFAFB62B401}">
      <dsp:nvSpPr>
        <dsp:cNvPr id="0" name=""/>
        <dsp:cNvSpPr/>
      </dsp:nvSpPr>
      <dsp:spPr>
        <a:xfrm>
          <a:off x="577426" y="3666634"/>
          <a:ext cx="8083972" cy="557493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5555" tIns="0" rIns="305555" bIns="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How security aspects will be addressed considering NFV?</a:t>
          </a:r>
          <a:endParaRPr lang="en-US" sz="1400" kern="1200" dirty="0"/>
        </a:p>
      </dsp:txBody>
      <dsp:txXfrm>
        <a:off x="604641" y="3693849"/>
        <a:ext cx="8029542" cy="503063"/>
      </dsp:txXfrm>
    </dsp:sp>
    <dsp:sp modelId="{4A9EEFC3-3339-4EEE-8CD6-E8E4982536B0}">
      <dsp:nvSpPr>
        <dsp:cNvPr id="0" name=""/>
        <dsp:cNvSpPr/>
      </dsp:nvSpPr>
      <dsp:spPr>
        <a:xfrm>
          <a:off x="0" y="4790261"/>
          <a:ext cx="11548532" cy="201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8201A42-145D-49B6-99DF-EDD0F018D922}">
      <dsp:nvSpPr>
        <dsp:cNvPr id="0" name=""/>
        <dsp:cNvSpPr/>
      </dsp:nvSpPr>
      <dsp:spPr>
        <a:xfrm>
          <a:off x="577426" y="4350848"/>
          <a:ext cx="8083972" cy="557493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5555" tIns="0" rIns="305555" bIns="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How NFV will help in time to market in introducing new technologies?</a:t>
          </a:r>
          <a:endParaRPr lang="en-US" sz="1400" kern="1200" dirty="0"/>
        </a:p>
      </dsp:txBody>
      <dsp:txXfrm>
        <a:off x="604641" y="4378063"/>
        <a:ext cx="8029542" cy="503063"/>
      </dsp:txXfrm>
    </dsp:sp>
    <dsp:sp modelId="{3711419E-36A0-4304-AB40-15942D8004A1}">
      <dsp:nvSpPr>
        <dsp:cNvPr id="0" name=""/>
        <dsp:cNvSpPr/>
      </dsp:nvSpPr>
      <dsp:spPr>
        <a:xfrm>
          <a:off x="0" y="5474475"/>
          <a:ext cx="11548532" cy="201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BF60A6A-753A-4539-9D31-7BB691BDADC6}">
      <dsp:nvSpPr>
        <dsp:cNvPr id="0" name=""/>
        <dsp:cNvSpPr/>
      </dsp:nvSpPr>
      <dsp:spPr>
        <a:xfrm>
          <a:off x="577426" y="5035061"/>
          <a:ext cx="8083972" cy="557493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5555" tIns="0" rIns="305555" bIns="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What the considerations that shall be taken in account in deploying Virtualized EPC commercially?</a:t>
          </a:r>
          <a:endParaRPr lang="en-US" sz="1400" kern="1200" dirty="0"/>
        </a:p>
      </dsp:txBody>
      <dsp:txXfrm>
        <a:off x="604641" y="5062276"/>
        <a:ext cx="8029542" cy="503063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7834DD5-209D-4AE2-B418-96DB720AB01B}">
      <dsp:nvSpPr>
        <dsp:cNvPr id="0" name=""/>
        <dsp:cNvSpPr/>
      </dsp:nvSpPr>
      <dsp:spPr>
        <a:xfrm>
          <a:off x="0" y="565758"/>
          <a:ext cx="2847660" cy="554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9136" tIns="71120" rIns="199136" bIns="71120" numCol="1" spcCol="1270" anchor="ctr" anchorCtr="0">
          <a:noAutofit/>
        </a:bodyPr>
        <a:lstStyle/>
        <a:p>
          <a:pPr lvl="0" algn="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Objective1</a:t>
          </a:r>
          <a:endParaRPr lang="en-US" sz="2800" kern="1200" dirty="0"/>
        </a:p>
      </dsp:txBody>
      <dsp:txXfrm>
        <a:off x="0" y="565758"/>
        <a:ext cx="2847660" cy="554400"/>
      </dsp:txXfrm>
    </dsp:sp>
    <dsp:sp modelId="{EE622ABD-CFAF-4F14-9510-62B82E56CDBA}">
      <dsp:nvSpPr>
        <dsp:cNvPr id="0" name=""/>
        <dsp:cNvSpPr/>
      </dsp:nvSpPr>
      <dsp:spPr>
        <a:xfrm>
          <a:off x="2847660" y="132633"/>
          <a:ext cx="569532" cy="1420650"/>
        </a:xfrm>
        <a:prstGeom prst="leftBrace">
          <a:avLst>
            <a:gd name="adj1" fmla="val 35000"/>
            <a:gd name="adj2" fmla="val 50000"/>
          </a:avLst>
        </a:prstGeom>
        <a:noFill/>
        <a:ln w="15875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A14B451-9087-4951-8E9C-DDF03385ED6A}">
      <dsp:nvSpPr>
        <dsp:cNvPr id="0" name=""/>
        <dsp:cNvSpPr/>
      </dsp:nvSpPr>
      <dsp:spPr>
        <a:xfrm>
          <a:off x="3645005" y="132633"/>
          <a:ext cx="7745637" cy="142065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800" kern="1200" dirty="0" smtClean="0"/>
            <a:t>Studying different models to deploy evolved packet core at emerging market.</a:t>
          </a:r>
          <a:endParaRPr lang="en-US" sz="2800" kern="1200" dirty="0"/>
        </a:p>
      </dsp:txBody>
      <dsp:txXfrm>
        <a:off x="3645005" y="132633"/>
        <a:ext cx="7745637" cy="1420650"/>
      </dsp:txXfrm>
    </dsp:sp>
    <dsp:sp modelId="{D6F0C62D-8322-4581-933D-398BE6C47E0A}">
      <dsp:nvSpPr>
        <dsp:cNvPr id="0" name=""/>
        <dsp:cNvSpPr/>
      </dsp:nvSpPr>
      <dsp:spPr>
        <a:xfrm>
          <a:off x="0" y="2087208"/>
          <a:ext cx="2847660" cy="554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9136" tIns="71120" rIns="199136" bIns="71120" numCol="1" spcCol="1270" anchor="ctr" anchorCtr="0">
          <a:noAutofit/>
        </a:bodyPr>
        <a:lstStyle/>
        <a:p>
          <a:pPr lvl="0" algn="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Objective2 </a:t>
          </a:r>
        </a:p>
      </dsp:txBody>
      <dsp:txXfrm>
        <a:off x="0" y="2087208"/>
        <a:ext cx="2847660" cy="554400"/>
      </dsp:txXfrm>
    </dsp:sp>
    <dsp:sp modelId="{CD24F7B6-08CA-4758-B612-C2A72BC34EFD}">
      <dsp:nvSpPr>
        <dsp:cNvPr id="0" name=""/>
        <dsp:cNvSpPr/>
      </dsp:nvSpPr>
      <dsp:spPr>
        <a:xfrm>
          <a:off x="2847660" y="1654083"/>
          <a:ext cx="569532" cy="1420650"/>
        </a:xfrm>
        <a:prstGeom prst="leftBrace">
          <a:avLst>
            <a:gd name="adj1" fmla="val 35000"/>
            <a:gd name="adj2" fmla="val 50000"/>
          </a:avLst>
        </a:prstGeom>
        <a:noFill/>
        <a:ln w="15875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8D5CAAC-836F-43EA-B111-6C57EEACA924}">
      <dsp:nvSpPr>
        <dsp:cNvPr id="0" name=""/>
        <dsp:cNvSpPr/>
      </dsp:nvSpPr>
      <dsp:spPr>
        <a:xfrm>
          <a:off x="3645005" y="1654083"/>
          <a:ext cx="7745637" cy="142065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800" kern="1200" dirty="0" smtClean="0"/>
            <a:t>Find out the best business model to deploy virtualized evolved packet core in mobile operators at emerging markets.</a:t>
          </a:r>
          <a:endParaRPr lang="en-US" sz="2800" kern="1200" dirty="0"/>
        </a:p>
      </dsp:txBody>
      <dsp:txXfrm>
        <a:off x="3645005" y="1654083"/>
        <a:ext cx="7745637" cy="1420650"/>
      </dsp:txXfrm>
    </dsp:sp>
    <dsp:sp modelId="{47B44FCD-9688-4CFC-8828-653179571BBA}">
      <dsp:nvSpPr>
        <dsp:cNvPr id="0" name=""/>
        <dsp:cNvSpPr/>
      </dsp:nvSpPr>
      <dsp:spPr>
        <a:xfrm>
          <a:off x="0" y="3400758"/>
          <a:ext cx="2850444" cy="554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9136" tIns="71120" rIns="199136" bIns="71120" numCol="1" spcCol="1270" anchor="ctr" anchorCtr="0">
          <a:noAutofit/>
        </a:bodyPr>
        <a:lstStyle/>
        <a:p>
          <a:pPr lvl="0" algn="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Objective3</a:t>
          </a:r>
          <a:endParaRPr lang="en-US" sz="2800" kern="1200" dirty="0"/>
        </a:p>
      </dsp:txBody>
      <dsp:txXfrm>
        <a:off x="0" y="3400758"/>
        <a:ext cx="2850444" cy="554400"/>
      </dsp:txXfrm>
    </dsp:sp>
    <dsp:sp modelId="{CF159061-390B-4033-8DED-93ED22C50479}">
      <dsp:nvSpPr>
        <dsp:cNvPr id="0" name=""/>
        <dsp:cNvSpPr/>
      </dsp:nvSpPr>
      <dsp:spPr>
        <a:xfrm>
          <a:off x="2850444" y="3175533"/>
          <a:ext cx="570088" cy="1004850"/>
        </a:xfrm>
        <a:prstGeom prst="leftBrace">
          <a:avLst>
            <a:gd name="adj1" fmla="val 35000"/>
            <a:gd name="adj2" fmla="val 50000"/>
          </a:avLst>
        </a:prstGeom>
        <a:noFill/>
        <a:ln w="15875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7346227-045A-42E4-BA58-8A1C5CD92AB9}">
      <dsp:nvSpPr>
        <dsp:cNvPr id="0" name=""/>
        <dsp:cNvSpPr/>
      </dsp:nvSpPr>
      <dsp:spPr>
        <a:xfrm>
          <a:off x="3648568" y="3175533"/>
          <a:ext cx="7753209" cy="100485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800" kern="1200" smtClean="0"/>
            <a:t>Define the briars and limitations of deploying NFV.</a:t>
          </a:r>
          <a:endParaRPr lang="en-US" sz="2800" kern="1200" dirty="0"/>
        </a:p>
      </dsp:txBody>
      <dsp:txXfrm>
        <a:off x="3648568" y="3175533"/>
        <a:ext cx="7753209" cy="1004850"/>
      </dsp:txXfrm>
    </dsp:sp>
    <dsp:sp modelId="{DEC4A9AD-692A-48F2-AF33-6352F68E046F}">
      <dsp:nvSpPr>
        <dsp:cNvPr id="0" name=""/>
        <dsp:cNvSpPr/>
      </dsp:nvSpPr>
      <dsp:spPr>
        <a:xfrm>
          <a:off x="0" y="4506408"/>
          <a:ext cx="2850444" cy="554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9136" tIns="71120" rIns="199136" bIns="71120" numCol="1" spcCol="1270" anchor="ctr" anchorCtr="0">
          <a:noAutofit/>
        </a:bodyPr>
        <a:lstStyle/>
        <a:p>
          <a:pPr lvl="0" algn="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Objective 4</a:t>
          </a:r>
          <a:endParaRPr lang="en-US" sz="2800" kern="1200" dirty="0"/>
        </a:p>
      </dsp:txBody>
      <dsp:txXfrm>
        <a:off x="0" y="4506408"/>
        <a:ext cx="2850444" cy="554400"/>
      </dsp:txXfrm>
    </dsp:sp>
    <dsp:sp modelId="{C367414E-38F4-44E0-84F0-29DC6068FBA2}">
      <dsp:nvSpPr>
        <dsp:cNvPr id="0" name=""/>
        <dsp:cNvSpPr/>
      </dsp:nvSpPr>
      <dsp:spPr>
        <a:xfrm>
          <a:off x="2850444" y="4281183"/>
          <a:ext cx="570088" cy="1004850"/>
        </a:xfrm>
        <a:prstGeom prst="leftBrace">
          <a:avLst>
            <a:gd name="adj1" fmla="val 35000"/>
            <a:gd name="adj2" fmla="val 50000"/>
          </a:avLst>
        </a:prstGeom>
        <a:noFill/>
        <a:ln w="15875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AA5C83E-748D-46D8-80D0-00E84F632541}">
      <dsp:nvSpPr>
        <dsp:cNvPr id="0" name=""/>
        <dsp:cNvSpPr/>
      </dsp:nvSpPr>
      <dsp:spPr>
        <a:xfrm>
          <a:off x="3648568" y="4281183"/>
          <a:ext cx="7753209" cy="100485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800" kern="1200" smtClean="0"/>
            <a:t>To assess NFV operational and commercial impact.</a:t>
          </a:r>
          <a:endParaRPr lang="en-US" sz="2800" kern="1200" dirty="0"/>
        </a:p>
      </dsp:txBody>
      <dsp:txXfrm>
        <a:off x="3648568" y="4281183"/>
        <a:ext cx="7753209" cy="100485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CF5498-AB27-4929-A0A7-75FE9D18DD87}">
      <dsp:nvSpPr>
        <dsp:cNvPr id="0" name=""/>
        <dsp:cNvSpPr/>
      </dsp:nvSpPr>
      <dsp:spPr>
        <a:xfrm>
          <a:off x="-6126981" y="-937410"/>
          <a:ext cx="7293488" cy="7293488"/>
        </a:xfrm>
        <a:prstGeom prst="blockArc">
          <a:avLst>
            <a:gd name="adj1" fmla="val 18900000"/>
            <a:gd name="adj2" fmla="val 2700000"/>
            <a:gd name="adj3" fmla="val 296"/>
          </a:avLst>
        </a:prstGeom>
        <a:noFill/>
        <a:ln w="15875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A405782-6D4C-4408-8A77-5224C822C6CA}">
      <dsp:nvSpPr>
        <dsp:cNvPr id="0" name=""/>
        <dsp:cNvSpPr/>
      </dsp:nvSpPr>
      <dsp:spPr>
        <a:xfrm>
          <a:off x="610504" y="416587"/>
          <a:ext cx="7440913" cy="83360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1676" tIns="43180" rIns="43180" bIns="43180" numCol="1" spcCol="1270" anchor="ctr" anchorCtr="0">
          <a:noAutofit/>
        </a:bodyPr>
        <a:lstStyle/>
        <a:p>
          <a:pPr lvl="0" algn="l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Scenario analysis for selected applicable management models of rollout NFV within mobile packet core network</a:t>
          </a:r>
          <a:endParaRPr lang="en-US" sz="1700" kern="1200" dirty="0"/>
        </a:p>
      </dsp:txBody>
      <dsp:txXfrm>
        <a:off x="610504" y="416587"/>
        <a:ext cx="7440913" cy="833607"/>
      </dsp:txXfrm>
    </dsp:sp>
    <dsp:sp modelId="{ABB42068-33C1-4C57-A0F4-4334CF12C2DB}">
      <dsp:nvSpPr>
        <dsp:cNvPr id="0" name=""/>
        <dsp:cNvSpPr/>
      </dsp:nvSpPr>
      <dsp:spPr>
        <a:xfrm>
          <a:off x="89500" y="312386"/>
          <a:ext cx="1042009" cy="104200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39BF964-609B-4B5B-9E95-2833E897CBB3}">
      <dsp:nvSpPr>
        <dsp:cNvPr id="0" name=""/>
        <dsp:cNvSpPr/>
      </dsp:nvSpPr>
      <dsp:spPr>
        <a:xfrm>
          <a:off x="1088431" y="1667215"/>
          <a:ext cx="6962986" cy="83360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1676" tIns="43180" rIns="43180" bIns="43180" numCol="1" spcCol="1270" anchor="ctr" anchorCtr="0">
          <a:noAutofit/>
        </a:bodyPr>
        <a:lstStyle/>
        <a:p>
          <a:pPr lvl="0" algn="l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Defining the most fit applicable model for the mobile operator in Palestinian market </a:t>
          </a:r>
          <a:endParaRPr lang="en-US" sz="1700" kern="1200" dirty="0"/>
        </a:p>
      </dsp:txBody>
      <dsp:txXfrm>
        <a:off x="1088431" y="1667215"/>
        <a:ext cx="6962986" cy="833607"/>
      </dsp:txXfrm>
    </dsp:sp>
    <dsp:sp modelId="{4EA3E3A8-DD49-43DE-B853-2EFD0C4E314E}">
      <dsp:nvSpPr>
        <dsp:cNvPr id="0" name=""/>
        <dsp:cNvSpPr/>
      </dsp:nvSpPr>
      <dsp:spPr>
        <a:xfrm>
          <a:off x="567426" y="1563014"/>
          <a:ext cx="1042009" cy="104200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4B55F27-700B-46FD-BD97-0222C246D60D}">
      <dsp:nvSpPr>
        <dsp:cNvPr id="0" name=""/>
        <dsp:cNvSpPr/>
      </dsp:nvSpPr>
      <dsp:spPr>
        <a:xfrm>
          <a:off x="1088431" y="2917843"/>
          <a:ext cx="6962986" cy="83360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1676" tIns="43180" rIns="43180" bIns="4318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Illustrate the best practices and points that shall be taken in consideration in deploying the NFV model at mobile packet network.</a:t>
          </a:r>
          <a:endParaRPr lang="en-US" sz="1700" kern="1200" dirty="0"/>
        </a:p>
      </dsp:txBody>
      <dsp:txXfrm>
        <a:off x="1088431" y="2917843"/>
        <a:ext cx="6962986" cy="833607"/>
      </dsp:txXfrm>
    </dsp:sp>
    <dsp:sp modelId="{A9047D6D-B4C9-4D63-AE33-8270E6520C9E}">
      <dsp:nvSpPr>
        <dsp:cNvPr id="0" name=""/>
        <dsp:cNvSpPr/>
      </dsp:nvSpPr>
      <dsp:spPr>
        <a:xfrm>
          <a:off x="567426" y="2813642"/>
          <a:ext cx="1042009" cy="104200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FDD2432-4834-4A31-BE8E-44077BA85A03}">
      <dsp:nvSpPr>
        <dsp:cNvPr id="0" name=""/>
        <dsp:cNvSpPr/>
      </dsp:nvSpPr>
      <dsp:spPr>
        <a:xfrm>
          <a:off x="610504" y="4168472"/>
          <a:ext cx="7440913" cy="83360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1676" tIns="43180" rIns="43180" bIns="4318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smtClean="0"/>
            <a:t>NFV Selected Model evaluation and benchmark for overall KPIs</a:t>
          </a:r>
          <a:endParaRPr lang="en-US" sz="1700" kern="1200" dirty="0"/>
        </a:p>
      </dsp:txBody>
      <dsp:txXfrm>
        <a:off x="610504" y="4168472"/>
        <a:ext cx="7440913" cy="833607"/>
      </dsp:txXfrm>
    </dsp:sp>
    <dsp:sp modelId="{16C35329-52BC-4FFD-BADF-BDCF67B88DAC}">
      <dsp:nvSpPr>
        <dsp:cNvPr id="0" name=""/>
        <dsp:cNvSpPr/>
      </dsp:nvSpPr>
      <dsp:spPr>
        <a:xfrm>
          <a:off x="89500" y="4064271"/>
          <a:ext cx="1042009" cy="104200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diagrams.loki3.com/BracketList">
  <dgm:title val="Vertical Bracket List"/>
  <dgm:desc val="Use to show grouped blocks of information.  Works well with large amounts of Level 2 text."/>
  <dgm:catLst>
    <dgm:cat type="list" pri="4110"/>
    <dgm:cat type="officeonline" pri="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3" srcId="0" destId="1" srcOrd="0" destOrd="0"/>
        <dgm:cxn modelId="4" srcId="1" destId="11" srcOrd="0" destOrd="0"/>
        <dgm:cxn modelId="5" srcId="0" destId="2" srcOrd="0" destOrd="0"/>
        <dgm:cxn modelId="6" srcId="2" destId="21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V" refType="primFontSz" refFor="des" refForName="parTx" fact="0.1"/>
      <dgm:constr type="primFontSz" for="des" forName="parTx" val="65"/>
      <dgm:constr type="primFontSz" for="des" forName="desTx" refType="primFontSz" refFor="des" refForName="parTx"/>
      <dgm:constr type="h" for="des" forName="parTx" refType="primFontSz" refFor="des" refForName="parTx" fact="0.55"/>
      <dgm:constr type="h" for="des" forName="bracket" refType="primFontSz" refFor="des" refForName="parTx" fact="0.55"/>
      <dgm:constr type="h" for="des" forName="desTx" refType="primFontSz" refFor="des" refForName="parTx" fact="0.55"/>
    </dgm:constrLst>
    <dgm:ruleLst>
      <dgm:rule type="primFontSz" for="des" forName="parTx" val="5" fact="NaN" max="NaN"/>
    </dgm:ruleLst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Tx" refType="w" fact="0.25"/>
          <dgm:constr type="w" for="ch" forName="bracket" refType="w" fact="0.05"/>
          <dgm:constr type="w" for="ch" forName="spH" refType="w" fact="0.02"/>
          <dgm:constr type="w" for="ch" forName="desTx" refType="w" fact="0.68"/>
          <dgm:constr type="h" for="ch" forName="bracket" refType="h" refFor="ch" refForName="desTx" op="gte"/>
          <dgm:constr type="h" for="ch" forName="bracket" refType="h" refFor="ch" refForName="parTx" op="gte"/>
          <dgm:constr type="h" for="ch" forName="desTx" refType="h" refFor="ch" refForName="parTx" op="gte"/>
        </dgm:constrLst>
        <dgm:ruleLst/>
        <dgm:layoutNode name="parTx" styleLbl="revTx">
          <dgm:varLst>
            <dgm:chMax val="1"/>
            <dgm:bulletEnabled val="1"/>
          </dgm:varLst>
          <dgm:choose name="Name8">
            <dgm:if name="Name9" func="var" arg="dir" op="equ" val="norm">
              <dgm:alg type="tx">
                <dgm:param type="parTxLTRAlign" val="r"/>
              </dgm:alg>
            </dgm:if>
            <dgm:else name="Name10">
              <dgm:alg type="tx">
                <dgm:param type="parTxLTRAlign" val="l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tMarg" refType="primFontSz" fact="0.2"/>
            <dgm:constr type="bMarg" refType="primFontSz" fact="0.2"/>
          </dgm:constrLst>
          <dgm:ruleLst>
            <dgm:rule type="h" val="INF" fact="NaN" max="NaN"/>
          </dgm:ruleLst>
        </dgm:layoutNode>
        <dgm:layoutNode name="bracket" styleLbl="parChTrans1D1">
          <dgm:alg type="sp"/>
          <dgm:choose name="Name11">
            <dgm:if name="Name12" func="var" arg="dir" op="equ" val="norm">
              <dgm:shape xmlns:r="http://schemas.openxmlformats.org/officeDocument/2006/relationships" type="leftBrace" r:blip="">
                <dgm:adjLst>
                  <dgm:adj idx="1" val="0.35"/>
                </dgm:adjLst>
              </dgm:shape>
            </dgm:if>
            <dgm:else name="Name13">
              <dgm:shape xmlns:r="http://schemas.openxmlformats.org/officeDocument/2006/relationships" rot="180" type="leftBrace" r:blip="">
                <dgm:adjLst>
                  <dgm:adj idx="1" val="0.35"/>
                </dgm:adjLst>
              </dgm:shape>
            </dgm:else>
          </dgm:choose>
          <dgm:presOf/>
        </dgm:layoutNode>
        <dgm:layoutNode name="spH">
          <dgm:alg type="sp"/>
        </dgm:layoutNode>
        <dgm:choose name="Name14">
          <dgm:if name="Name15" axis="ch" ptType="node" func="cnt" op="gte" val="1">
            <dgm:layoutNode name="desTx" styleLbl="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secFontSz" refType="primFontSz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h" val="INF" fact="NaN" max="NaN"/>
              </dgm:ruleLst>
            </dgm:layoutNode>
          </dgm:if>
          <dgm:else name="Name16"/>
        </dgm:choose>
      </dgm:layoutNode>
      <dgm:forEach name="Name17" axis="followSib" ptType="sibTrans" cnt="1">
        <dgm:layoutNode name="spV">
          <dgm:alg type="sp"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82F96F-DC53-4ED2-8BFF-162B441D54DD}" type="datetimeFigureOut">
              <a:rPr lang="en-US" smtClean="0"/>
              <a:pPr/>
              <a:t>5/30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3ECF2A-A234-4707-B9B5-94681677FD3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74720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31/03/2014</a:t>
            </a:r>
            <a:endParaRPr lang="en-US" dirty="0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64643C21-3823-43C6-A14E-305E6997EC9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43315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09600"/>
            <a:ext cx="8915399" cy="311704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31/03/2014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64643C21-3823-43C6-A14E-305E6997EC9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344558"/>
      </p:ext>
    </p:extLst>
  </p:cSld>
  <p:clrMapOvr>
    <a:masterClrMapping/>
  </p:clrMapOvr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275012" y="3505200"/>
            <a:ext cx="753655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31/03/2014</a:t>
            </a:r>
            <a:endParaRPr lang="en-US" dirty="0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64643C21-3823-43C6-A14E-305E6997EC9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139859555"/>
      </p:ext>
    </p:extLst>
  </p:cSld>
  <p:clrMapOvr>
    <a:masterClrMapping/>
  </p:clrMapOvr>
  <p:hf sldNum="0"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2438400"/>
            <a:ext cx="8915400" cy="2724845"/>
          </a:xfrm>
        </p:spPr>
        <p:txBody>
          <a:bodyPr anchor="b">
            <a:normAutofit/>
          </a:bodyPr>
          <a:lstStyle>
            <a:lvl1pPr algn="l">
              <a:defRPr sz="4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31/03/2014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64643C21-3823-43C6-A14E-305E6997EC9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0206166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31/03/2014</a:t>
            </a:r>
            <a:endParaRPr lang="en-US" dirty="0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64643C21-3823-43C6-A14E-305E6997EC9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926076707"/>
      </p:ext>
    </p:extLst>
  </p:cSld>
  <p:clrMapOvr>
    <a:masterClrMapping/>
  </p:clrMapOvr>
  <p:hf sldNum="0"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27407"/>
            <a:ext cx="8915399" cy="2880020"/>
          </a:xfrm>
        </p:spPr>
        <p:txBody>
          <a:bodyPr anchor="ctr">
            <a:normAutofit/>
          </a:bodyPr>
          <a:lstStyle>
            <a:lvl1pPr algn="l">
              <a:defRPr sz="4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31/03/2014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64643C21-3823-43C6-A14E-305E6997EC9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752217"/>
      </p:ext>
    </p:extLst>
  </p:cSld>
  <p:clrMapOvr>
    <a:masterClrMapping/>
  </p:clrMapOvr>
  <p:hf sldNum="0"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31/03/2014</a:t>
            </a:r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3C21-3823-43C6-A14E-305E6997EC9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12772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294812" y="627405"/>
            <a:ext cx="2207601" cy="5283817"/>
          </a:xfrm>
        </p:spPr>
        <p:txBody>
          <a:bodyPr vert="eaVert"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89212" y="627405"/>
            <a:ext cx="6477000" cy="528381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31/03/2014</a:t>
            </a:r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3C21-3823-43C6-A14E-305E6997EC9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07153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4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923" y="533400"/>
            <a:ext cx="11254156" cy="381000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r>
              <a:rPr lang="en-US" dirty="0" smtClean="0"/>
              <a:t>Click to edit slide tit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2" y="0"/>
            <a:ext cx="11723079" cy="228600"/>
          </a:xfrm>
        </p:spPr>
        <p:txBody>
          <a:bodyPr lIns="72000" tIns="36000"/>
          <a:lstStyle>
            <a:lvl1pPr>
              <a:buNone/>
              <a:defRPr sz="831" b="1" cap="all" baseline="0">
                <a:solidFill>
                  <a:schemeClr val="tx1"/>
                </a:solidFill>
              </a:defRPr>
            </a:lvl1pPr>
            <a:lvl2pPr>
              <a:buNone/>
              <a:defRPr sz="923" b="1" cap="all"/>
            </a:lvl2pPr>
            <a:lvl3pPr>
              <a:buNone/>
              <a:defRPr sz="923" b="1" cap="all"/>
            </a:lvl3pPr>
            <a:lvl4pPr>
              <a:buNone/>
              <a:defRPr sz="923" b="1" cap="all"/>
            </a:lvl4pPr>
            <a:lvl5pPr>
              <a:buNone/>
              <a:defRPr sz="923" b="1" cap="all"/>
            </a:lvl5pPr>
          </a:lstStyle>
          <a:p>
            <a:pPr lvl="0"/>
            <a:r>
              <a:rPr lang="en-US" dirty="0" smtClean="0"/>
              <a:t>CLICK TO EDIT SECTION HEADER (NUMBER and title)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186918" y="6400093"/>
            <a:ext cx="8838551" cy="195676"/>
          </a:xfrm>
        </p:spPr>
        <p:txBody>
          <a:bodyPr lIns="0" rIns="0" bIns="46800" anchor="b"/>
          <a:lstStyle>
            <a:lvl1pPr marL="0" indent="0">
              <a:buNone/>
              <a:defRPr sz="738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23922394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3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468923" y="1132448"/>
            <a:ext cx="11254156" cy="4842907"/>
          </a:xfrm>
        </p:spPr>
        <p:txBody>
          <a:bodyPr/>
          <a:lstStyle>
            <a:lvl1pPr>
              <a:lnSpc>
                <a:spcPct val="110000"/>
              </a:lnSpc>
              <a:spcBef>
                <a:spcPts val="831"/>
              </a:spcBef>
              <a:defRPr/>
            </a:lvl1pPr>
            <a:lvl2pPr>
              <a:lnSpc>
                <a:spcPct val="110000"/>
              </a:lnSpc>
              <a:spcBef>
                <a:spcPts val="416"/>
              </a:spcBef>
              <a:defRPr/>
            </a:lvl2pPr>
            <a:lvl3pPr>
              <a:lnSpc>
                <a:spcPct val="110000"/>
              </a:lnSpc>
              <a:spcBef>
                <a:spcPts val="208"/>
              </a:spcBef>
              <a:defRPr/>
            </a:lvl3pPr>
            <a:lvl4pPr>
              <a:lnSpc>
                <a:spcPct val="110000"/>
              </a:lnSpc>
              <a:spcBef>
                <a:spcPts val="208"/>
              </a:spcBef>
              <a:defRPr/>
            </a:lvl4pPr>
            <a:lvl5pPr>
              <a:lnSpc>
                <a:spcPct val="110000"/>
              </a:lnSpc>
              <a:spcBef>
                <a:spcPts val="208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923" y="533400"/>
            <a:ext cx="11254156" cy="381000"/>
          </a:xfrm>
          <a:prstGeom prst="rect">
            <a:avLst/>
          </a:prstGeom>
        </p:spPr>
        <p:txBody>
          <a:bodyPr anchor="b"/>
          <a:lstStyle>
            <a:lvl1pPr>
              <a:defRPr sz="2220"/>
            </a:lvl1pPr>
          </a:lstStyle>
          <a:p>
            <a:r>
              <a:rPr lang="en-US" dirty="0" smtClean="0"/>
              <a:t>Click to edit slid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178937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7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468923" y="1132448"/>
            <a:ext cx="11254156" cy="4842907"/>
          </a:xfrm>
        </p:spPr>
        <p:txBody>
          <a:bodyPr/>
          <a:lstStyle>
            <a:lvl1pPr>
              <a:lnSpc>
                <a:spcPct val="110000"/>
              </a:lnSpc>
              <a:spcBef>
                <a:spcPts val="831"/>
              </a:spcBef>
              <a:defRPr/>
            </a:lvl1pPr>
            <a:lvl2pPr>
              <a:lnSpc>
                <a:spcPct val="110000"/>
              </a:lnSpc>
              <a:spcBef>
                <a:spcPts val="416"/>
              </a:spcBef>
              <a:defRPr/>
            </a:lvl2pPr>
            <a:lvl3pPr>
              <a:lnSpc>
                <a:spcPct val="110000"/>
              </a:lnSpc>
              <a:spcBef>
                <a:spcPts val="208"/>
              </a:spcBef>
              <a:defRPr/>
            </a:lvl3pPr>
            <a:lvl4pPr>
              <a:lnSpc>
                <a:spcPct val="110000"/>
              </a:lnSpc>
              <a:spcBef>
                <a:spcPts val="208"/>
              </a:spcBef>
              <a:defRPr/>
            </a:lvl4pPr>
            <a:lvl5pPr>
              <a:lnSpc>
                <a:spcPct val="110000"/>
              </a:lnSpc>
              <a:spcBef>
                <a:spcPts val="208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923" y="533400"/>
            <a:ext cx="11254156" cy="381000"/>
          </a:xfrm>
          <a:prstGeom prst="rect">
            <a:avLst/>
          </a:prstGeom>
        </p:spPr>
        <p:txBody>
          <a:bodyPr anchor="b"/>
          <a:lstStyle>
            <a:lvl1pPr>
              <a:defRPr sz="2220"/>
            </a:lvl1pPr>
          </a:lstStyle>
          <a:p>
            <a:r>
              <a:rPr lang="en-US" dirty="0" smtClean="0"/>
              <a:t>Click to edit slid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02817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31/03/2014</a:t>
            </a:r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3C21-3823-43C6-A14E-305E6997EC9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00904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2058750"/>
            <a:ext cx="8915399" cy="146880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3530129"/>
            <a:ext cx="8915399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31/03/2014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64643C21-3823-43C6-A14E-305E6997EC9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63092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89212" y="2133600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90747" y="2126222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31/03/2014</a:t>
            </a:r>
            <a:endParaRPr lang="en-US" dirty="0"/>
          </a:p>
        </p:txBody>
      </p:sp>
      <p:sp>
        <p:nvSpPr>
          <p:cNvPr id="10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64643C21-3823-43C6-A14E-305E6997EC9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0567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39373" y="1972703"/>
            <a:ext cx="399273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89212" y="2548966"/>
            <a:ext cx="4342893" cy="3354060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506629" y="1969475"/>
            <a:ext cx="399900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166957" y="2545738"/>
            <a:ext cx="4338674" cy="3354060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31/03/2014</a:t>
            </a:r>
            <a:endParaRPr lang="en-US" dirty="0"/>
          </a:p>
        </p:txBody>
      </p:sp>
      <p:sp>
        <p:nvSpPr>
          <p:cNvPr id="12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64643C21-3823-43C6-A14E-305E6997EC9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0131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31/03/2014</a:t>
            </a:r>
            <a:endParaRPr lang="en-US" dirty="0"/>
          </a:p>
        </p:txBody>
      </p:sp>
      <p:sp>
        <p:nvSpPr>
          <p:cNvPr id="7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3C21-3823-43C6-A14E-305E6997EC9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0583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31/03/2014</a:t>
            </a:r>
            <a:endParaRPr lang="en-US" dirty="0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3C21-3823-43C6-A14E-305E6997EC9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67693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446088"/>
            <a:ext cx="3505199" cy="976312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3012" y="446088"/>
            <a:ext cx="5181600" cy="5414963"/>
          </a:xfrm>
        </p:spPr>
        <p:txBody>
          <a:bodyPr anchor="ctr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2" y="1598613"/>
            <a:ext cx="3505199" cy="426243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31/03/2014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43C21-3823-43C6-A14E-305E6997EC9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53592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4800600"/>
            <a:ext cx="89154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589212" y="634965"/>
            <a:ext cx="8915400" cy="3854970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367338"/>
            <a:ext cx="8915400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31/03/2014</a:t>
            </a:r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64643C21-3823-43C6-A14E-305E6997EC9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9013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31/03/2014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64643C21-3823-43C6-A14E-305E6997EC9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8286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72" r:id="rId17"/>
    <p:sldLayoutId id="2147483675" r:id="rId18"/>
    <p:sldLayoutId id="2147483676" r:id="rId19"/>
  </p:sldLayoutIdLst>
  <p:hf sldNum="0" hd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29</a:t>
            </a:r>
            <a:r>
              <a:rPr lang="en-US" baseline="30000" dirty="0" smtClean="0"/>
              <a:t>th</a:t>
            </a:r>
            <a:r>
              <a:rPr lang="en-US" dirty="0" smtClean="0"/>
              <a:t> May2017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2844165" y="644197"/>
            <a:ext cx="6096000" cy="129266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GB" b="1" dirty="0">
                <a:latin typeface="Gabriola" pitchFamily="82" charset="0"/>
                <a:cs typeface="Times New Roman" pitchFamily="18" charset="0"/>
              </a:rPr>
              <a:t/>
            </a:r>
            <a:br>
              <a:rPr lang="en-GB" b="1" dirty="0">
                <a:latin typeface="Gabriola" pitchFamily="82" charset="0"/>
                <a:cs typeface="Times New Roman" pitchFamily="18" charset="0"/>
              </a:rPr>
            </a:br>
            <a:r>
              <a:rPr lang="en-GB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n-</a:t>
            </a:r>
            <a:r>
              <a:rPr lang="en-GB" sz="20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ajah</a:t>
            </a:r>
            <a:r>
              <a:rPr lang="en-GB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National University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GB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Faculty of Graduate Studies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Engineering Management Program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948940" y="2285129"/>
            <a:ext cx="588645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esentation of thesis Proposal entitled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 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L - </a:t>
            </a:r>
            <a:r>
              <a:rPr lang="en-US" sz="20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ajah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National University </a:t>
            </a:r>
          </a:p>
          <a:p>
            <a:pPr algn="ctr"/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nalyzing the service management functions in Virtualized Evolved Packet Core (</a:t>
            </a:r>
            <a:r>
              <a:rPr lang="en-US" sz="20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EPC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731770" y="4369146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b="1" dirty="0" smtClean="0">
                <a:solidFill>
                  <a:schemeClr val="accent6">
                    <a:lumMod val="40000"/>
                    <a:lumOff val="60000"/>
                  </a:schemeClr>
                </a:solidFill>
                <a:latin typeface="Gabriola" pitchFamily="82" charset="0"/>
              </a:rPr>
              <a:t>                       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epared </a:t>
            </a: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y: Eng. 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Khawla Daraghmeh</a:t>
            </a: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upervisors</a:t>
            </a: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en-US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  </a:t>
            </a:r>
            <a:r>
              <a:rPr lang="en-US" dirty="0">
                <a:latin typeface="Gabriola" pitchFamily="82" charset="0"/>
              </a:rPr>
              <a:t/>
            </a:r>
            <a:br>
              <a:rPr lang="en-US" dirty="0">
                <a:latin typeface="Gabriola" pitchFamily="82" charset="0"/>
              </a:rPr>
            </a:br>
            <a:r>
              <a:rPr lang="en-US" b="1" dirty="0">
                <a:latin typeface="Gabriola" pitchFamily="82" charset="0"/>
              </a:rPr>
              <a:t>Dr. </a:t>
            </a:r>
            <a:r>
              <a:rPr lang="en-US" b="1" dirty="0" err="1" smtClean="0">
                <a:latin typeface="Gabriola" pitchFamily="82" charset="0"/>
              </a:rPr>
              <a:t>Saed</a:t>
            </a:r>
            <a:r>
              <a:rPr lang="en-US" b="1" dirty="0" smtClean="0">
                <a:latin typeface="Gabriola" pitchFamily="82" charset="0"/>
              </a:rPr>
              <a:t> </a:t>
            </a:r>
            <a:r>
              <a:rPr lang="en-US" b="1" dirty="0" err="1" smtClean="0">
                <a:latin typeface="Gabriola" pitchFamily="82" charset="0"/>
              </a:rPr>
              <a:t>Ttarapiah</a:t>
            </a:r>
            <a:r>
              <a:rPr lang="en-US" b="1" dirty="0" smtClean="0">
                <a:latin typeface="Gabriola" pitchFamily="82" charset="0"/>
              </a:rPr>
              <a:t>                                                                        Dr</a:t>
            </a:r>
            <a:r>
              <a:rPr lang="en-US" b="1" dirty="0">
                <a:latin typeface="Gabriola" pitchFamily="82" charset="0"/>
              </a:rPr>
              <a:t>. </a:t>
            </a:r>
            <a:r>
              <a:rPr lang="en-US" b="1" dirty="0" err="1" smtClean="0">
                <a:latin typeface="Gabriola" pitchFamily="82" charset="0"/>
              </a:rPr>
              <a:t>Shadi</a:t>
            </a:r>
            <a:r>
              <a:rPr lang="en-US" b="1" dirty="0" smtClean="0">
                <a:latin typeface="Gabriola" pitchFamily="82" charset="0"/>
              </a:rPr>
              <a:t> </a:t>
            </a:r>
            <a:r>
              <a:rPr lang="en-US" b="1" dirty="0" err="1" smtClean="0">
                <a:latin typeface="Gabriola" pitchFamily="82" charset="0"/>
              </a:rPr>
              <a:t>Atall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2956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1071093" y="296595"/>
            <a:ext cx="10749566" cy="639762"/>
          </a:xfrm>
        </p:spPr>
        <p:txBody>
          <a:bodyPr/>
          <a:lstStyle/>
          <a:p>
            <a:r>
              <a:rPr lang="en-US" sz="2800" dirty="0" smtClean="0">
                <a:solidFill>
                  <a:srgbClr val="C00000"/>
                </a:solidFill>
                <a:ea typeface="+mj-ea"/>
                <a:cs typeface="Calibri" pitchFamily="34" charset="0"/>
              </a:rPr>
              <a:t>     Research Problem  </a:t>
            </a:r>
            <a:endParaRPr lang="en-US" sz="2800" dirty="0">
              <a:solidFill>
                <a:srgbClr val="C00000"/>
              </a:solidFill>
              <a:ea typeface="+mj-ea"/>
              <a:cs typeface="Calibri" pitchFamily="34" charset="0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944451" y="936357"/>
            <a:ext cx="10304450" cy="1079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" name="Rounded Rectangle 1"/>
          <p:cNvSpPr/>
          <p:nvPr/>
        </p:nvSpPr>
        <p:spPr>
          <a:xfrm>
            <a:off x="1071093" y="1354667"/>
            <a:ext cx="10177808" cy="5350933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q"/>
            </a:pPr>
            <a:r>
              <a:rPr lang="en-US" dirty="0" smtClean="0"/>
              <a:t>The Traffic demand is increasing rapidly </a:t>
            </a:r>
            <a:r>
              <a:rPr lang="en-US" dirty="0" smtClean="0">
                <a:sym typeface="Wingdings" panose="05000000000000000000" pitchFamily="2" charset="2"/>
              </a:rPr>
              <a:t> OPEX/CAPEX is increasing to handle demand   while telecom profit is declining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q"/>
            </a:pPr>
            <a:r>
              <a:rPr lang="en-US" dirty="0" smtClean="0">
                <a:sym typeface="Wingdings" panose="05000000000000000000" pitchFamily="2" charset="2"/>
              </a:rPr>
              <a:t>Supply Chain Challenge and Time to Market  Due to Special HW manufacturing and delivery 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q"/>
            </a:pPr>
            <a:r>
              <a:rPr lang="en-US" dirty="0" smtClean="0">
                <a:sym typeface="Wingdings" panose="05000000000000000000" pitchFamily="2" charset="2"/>
              </a:rPr>
              <a:t>Palestinian Market has special case due to political/customs constrains in HW delivery 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q"/>
            </a:pPr>
            <a:r>
              <a:rPr lang="en-US" dirty="0" smtClean="0">
                <a:sym typeface="Wingdings" panose="05000000000000000000" pitchFamily="2" charset="2"/>
              </a:rPr>
              <a:t>Mobile operators in Palestine face illegal competition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q"/>
            </a:pPr>
            <a:endParaRPr lang="en-US" dirty="0">
              <a:sym typeface="Wingdings" panose="05000000000000000000" pitchFamily="2" charset="2"/>
            </a:endParaRPr>
          </a:p>
          <a:p>
            <a:pPr>
              <a:lnSpc>
                <a:spcPct val="200000"/>
              </a:lnSpc>
            </a:pPr>
            <a:r>
              <a:rPr lang="en-US" dirty="0" smtClean="0">
                <a:sym typeface="Wingdings" panose="05000000000000000000" pitchFamily="2" charset="2"/>
              </a:rPr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682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1071093" y="296595"/>
            <a:ext cx="10749566" cy="639762"/>
          </a:xfrm>
        </p:spPr>
        <p:txBody>
          <a:bodyPr/>
          <a:lstStyle/>
          <a:p>
            <a:r>
              <a:rPr lang="en-US" sz="2800" dirty="0" smtClean="0">
                <a:solidFill>
                  <a:srgbClr val="C00000"/>
                </a:solidFill>
                <a:ea typeface="+mj-ea"/>
                <a:cs typeface="Calibri" pitchFamily="34" charset="0"/>
              </a:rPr>
              <a:t>     Research Questions  </a:t>
            </a:r>
            <a:endParaRPr lang="en-US" sz="2800" dirty="0">
              <a:solidFill>
                <a:srgbClr val="C00000"/>
              </a:solidFill>
              <a:ea typeface="+mj-ea"/>
              <a:cs typeface="Calibri" pitchFamily="34" charset="0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944451" y="936357"/>
            <a:ext cx="10304450" cy="1079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16699257"/>
              </p:ext>
            </p:extLst>
          </p:nvPr>
        </p:nvGraphicFramePr>
        <p:xfrm>
          <a:off x="457201" y="936357"/>
          <a:ext cx="11548532" cy="59216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26200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1071093" y="296595"/>
            <a:ext cx="10749566" cy="639762"/>
          </a:xfrm>
        </p:spPr>
        <p:txBody>
          <a:bodyPr/>
          <a:lstStyle/>
          <a:p>
            <a:r>
              <a:rPr lang="en-US" sz="2800" dirty="0" smtClean="0">
                <a:solidFill>
                  <a:srgbClr val="C00000"/>
                </a:solidFill>
                <a:ea typeface="+mj-ea"/>
                <a:cs typeface="Calibri" pitchFamily="34" charset="0"/>
              </a:rPr>
              <a:t>     </a:t>
            </a:r>
            <a:r>
              <a:rPr lang="en-US" sz="2800" dirty="0" smtClean="0">
                <a:solidFill>
                  <a:srgbClr val="C00000"/>
                </a:solidFill>
                <a:ea typeface="+mj-ea"/>
                <a:cs typeface="Calibri" pitchFamily="34" charset="0"/>
              </a:rPr>
              <a:t>Objectives </a:t>
            </a:r>
            <a:endParaRPr lang="en-US" sz="2800" dirty="0">
              <a:solidFill>
                <a:srgbClr val="C00000"/>
              </a:solidFill>
              <a:ea typeface="+mj-ea"/>
              <a:cs typeface="Calibri" pitchFamily="34" charset="0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944451" y="936357"/>
            <a:ext cx="10304450" cy="1079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Diagram 4"/>
          <p:cNvGraphicFramePr/>
          <p:nvPr/>
        </p:nvGraphicFramePr>
        <p:xfrm>
          <a:off x="418881" y="1317977"/>
          <a:ext cx="11401778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57851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1071093" y="296595"/>
            <a:ext cx="10749566" cy="639762"/>
          </a:xfrm>
        </p:spPr>
        <p:txBody>
          <a:bodyPr/>
          <a:lstStyle/>
          <a:p>
            <a:r>
              <a:rPr lang="en-US" sz="2800" dirty="0" smtClean="0">
                <a:solidFill>
                  <a:srgbClr val="C00000"/>
                </a:solidFill>
                <a:ea typeface="+mj-ea"/>
                <a:cs typeface="Calibri" pitchFamily="34" charset="0"/>
              </a:rPr>
              <a:t>     Methodology  </a:t>
            </a:r>
            <a:endParaRPr lang="en-US" sz="2800" dirty="0">
              <a:solidFill>
                <a:srgbClr val="C00000"/>
              </a:solidFill>
              <a:ea typeface="+mj-ea"/>
              <a:cs typeface="Calibri" pitchFamily="34" charset="0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944451" y="936357"/>
            <a:ext cx="10304450" cy="1079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7918" y="1025254"/>
            <a:ext cx="9430037" cy="5832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6327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1071093" y="296595"/>
            <a:ext cx="10749566" cy="639762"/>
          </a:xfrm>
        </p:spPr>
        <p:txBody>
          <a:bodyPr/>
          <a:lstStyle/>
          <a:p>
            <a:r>
              <a:rPr lang="en-US" sz="2800" dirty="0" smtClean="0">
                <a:solidFill>
                  <a:srgbClr val="C00000"/>
                </a:solidFill>
                <a:ea typeface="+mj-ea"/>
                <a:cs typeface="Calibri" pitchFamily="34" charset="0"/>
              </a:rPr>
              <a:t>     Deliverables   </a:t>
            </a:r>
            <a:endParaRPr lang="en-US" sz="2800" dirty="0">
              <a:solidFill>
                <a:srgbClr val="C00000"/>
              </a:solidFill>
              <a:ea typeface="+mj-ea"/>
              <a:cs typeface="Calibri" pitchFamily="34" charset="0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944451" y="936357"/>
            <a:ext cx="10304450" cy="1079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Diagram 2"/>
          <p:cNvGraphicFramePr/>
          <p:nvPr/>
        </p:nvGraphicFramePr>
        <p:xfrm>
          <a:off x="1275645" y="1069621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952136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31/03/2014</a:t>
            </a:r>
            <a:endParaRPr lang="en-US" dirty="0"/>
          </a:p>
        </p:txBody>
      </p:sp>
      <p:pic>
        <p:nvPicPr>
          <p:cNvPr id="5122" name="Picture 2" descr="نتيجة بحث الصور عن ‪thank you‬‏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5444" y="0"/>
            <a:ext cx="12277444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3749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2298902678"/>
              </p:ext>
            </p:extLst>
          </p:nvPr>
        </p:nvGraphicFramePr>
        <p:xfrm>
          <a:off x="20320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435865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1071093" y="296595"/>
            <a:ext cx="10749566" cy="639762"/>
          </a:xfrm>
        </p:spPr>
        <p:txBody>
          <a:bodyPr/>
          <a:lstStyle/>
          <a:p>
            <a:r>
              <a:rPr lang="en-US" sz="2800" dirty="0" smtClean="0">
                <a:solidFill>
                  <a:srgbClr val="C00000"/>
                </a:solidFill>
                <a:ea typeface="+mj-ea"/>
                <a:cs typeface="Calibri" pitchFamily="34" charset="0"/>
              </a:rPr>
              <a:t>     Introduction – (1/5)   </a:t>
            </a:r>
            <a:endParaRPr lang="en-US" sz="2800" dirty="0">
              <a:solidFill>
                <a:srgbClr val="C00000"/>
              </a:solidFill>
              <a:ea typeface="+mj-ea"/>
              <a:cs typeface="Calibri" pitchFamily="34" charset="0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944451" y="925563"/>
            <a:ext cx="10304450" cy="1079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81333" y="2307770"/>
            <a:ext cx="2963924" cy="3213619"/>
          </a:xfrm>
          <a:prstGeom prst="rect">
            <a:avLst/>
          </a:prstGeom>
        </p:spPr>
      </p:pic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882670866"/>
              </p:ext>
            </p:extLst>
          </p:nvPr>
        </p:nvGraphicFramePr>
        <p:xfrm>
          <a:off x="1253404" y="1470009"/>
          <a:ext cx="7252855" cy="53879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121674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4817" y="4180802"/>
            <a:ext cx="2997345" cy="2775672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" name="Rectangle 2"/>
          <p:cNvSpPr/>
          <p:nvPr/>
        </p:nvSpPr>
        <p:spPr>
          <a:xfrm>
            <a:off x="1630440" y="1521758"/>
            <a:ext cx="1029427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0" i="0" u="none" strike="noStrike" baseline="0" dirty="0" smtClean="0">
                <a:solidFill>
                  <a:srgbClr val="000000"/>
                </a:solidFill>
                <a:latin typeface="Times New Roman" panose="02020603050405020304" pitchFamily="18" charset="0"/>
              </a:rPr>
              <a:t>Rapid Growth In Data Services Demand </a:t>
            </a:r>
            <a:r>
              <a:rPr lang="en-US" b="0" i="0" u="none" strike="noStrike" baseline="0" dirty="0" smtClean="0">
                <a:solidFill>
                  <a:srgbClr val="000000"/>
                </a:solidFill>
                <a:latin typeface="Times New Roman" panose="02020603050405020304" pitchFamily="18" charset="0"/>
                <a:sym typeface="Wingdings" panose="05000000000000000000" pitchFamily="2" charset="2"/>
              </a:rPr>
              <a:t></a:t>
            </a:r>
            <a:r>
              <a:rPr lang="en-US" b="0" i="0" u="none" strike="noStrike" baseline="0" dirty="0" smtClean="0">
                <a:solidFill>
                  <a:srgbClr val="000000"/>
                </a:solidFill>
                <a:latin typeface="Times New Roman" panose="02020603050405020304" pitchFamily="18" charset="0"/>
              </a:rPr>
              <a:t>        Revenue Growth Struggles    </a:t>
            </a:r>
            <a:r>
              <a:rPr lang="en-US" b="0" i="0" u="none" strike="noStrike" baseline="0" dirty="0" smtClean="0">
                <a:solidFill>
                  <a:srgbClr val="000000"/>
                </a:solidFill>
                <a:latin typeface="Times New Roman" panose="02020603050405020304" pitchFamily="18" charset="0"/>
                <a:sym typeface="Wingdings" panose="05000000000000000000" pitchFamily="2" charset="2"/>
              </a:rPr>
              <a:t> </a:t>
            </a:r>
            <a:r>
              <a:rPr lang="en-US" b="0" i="0" u="none" strike="noStrike" baseline="0" dirty="0" smtClean="0">
                <a:solidFill>
                  <a:srgbClr val="000000"/>
                </a:solidFill>
                <a:latin typeface="Times New Roman" panose="02020603050405020304" pitchFamily="18" charset="0"/>
              </a:rPr>
              <a:t>          </a:t>
            </a:r>
            <a:r>
              <a:rPr lang="en-US" dirty="0" smtClean="0">
                <a:solidFill>
                  <a:srgbClr val="000000"/>
                </a:solidFill>
                <a:latin typeface="Times New Roman" panose="02020603050405020304" pitchFamily="18" charset="0"/>
              </a:rPr>
              <a:t>EBITDA decreases </a:t>
            </a:r>
            <a:endParaRPr lang="en-US" dirty="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  <p:sp>
        <p:nvSpPr>
          <p:cNvPr id="8" name="Up Arrow 7"/>
          <p:cNvSpPr/>
          <p:nvPr/>
        </p:nvSpPr>
        <p:spPr>
          <a:xfrm>
            <a:off x="1370668" y="1521758"/>
            <a:ext cx="259773" cy="307009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Up Arrow 8"/>
          <p:cNvSpPr/>
          <p:nvPr/>
        </p:nvSpPr>
        <p:spPr>
          <a:xfrm rot="10800000">
            <a:off x="5902496" y="1521758"/>
            <a:ext cx="259773" cy="307009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Up Arrow 10"/>
          <p:cNvSpPr/>
          <p:nvPr/>
        </p:nvSpPr>
        <p:spPr>
          <a:xfrm rot="10800000">
            <a:off x="9321816" y="1584081"/>
            <a:ext cx="259773" cy="307009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29465" y="2110501"/>
            <a:ext cx="8295249" cy="4408866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6722926" y="2373913"/>
            <a:ext cx="25769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</a:rPr>
              <a:t>Total global revenue </a:t>
            </a:r>
          </a:p>
        </p:txBody>
      </p:sp>
      <p:sp>
        <p:nvSpPr>
          <p:cNvPr id="14" name="Text Placeholder 2"/>
          <p:cNvSpPr txBox="1">
            <a:spLocks/>
          </p:cNvSpPr>
          <p:nvPr/>
        </p:nvSpPr>
        <p:spPr>
          <a:xfrm>
            <a:off x="1071093" y="430408"/>
            <a:ext cx="10749566" cy="639762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800" dirty="0" smtClean="0">
                <a:solidFill>
                  <a:srgbClr val="C00000"/>
                </a:solidFill>
                <a:ea typeface="+mj-ea"/>
                <a:cs typeface="Calibri" pitchFamily="34" charset="0"/>
              </a:rPr>
              <a:t>     Introduction </a:t>
            </a:r>
            <a:r>
              <a:rPr lang="en-US" sz="2800" dirty="0">
                <a:solidFill>
                  <a:srgbClr val="C00000"/>
                </a:solidFill>
                <a:cs typeface="Calibri" pitchFamily="34" charset="0"/>
              </a:rPr>
              <a:t>– </a:t>
            </a:r>
            <a:r>
              <a:rPr lang="en-US" sz="2800" dirty="0" smtClean="0">
                <a:solidFill>
                  <a:srgbClr val="C00000"/>
                </a:solidFill>
                <a:cs typeface="Calibri" pitchFamily="34" charset="0"/>
              </a:rPr>
              <a:t>(2/5</a:t>
            </a:r>
            <a:r>
              <a:rPr lang="en-US" sz="2800" dirty="0">
                <a:solidFill>
                  <a:srgbClr val="C00000"/>
                </a:solidFill>
                <a:cs typeface="Calibri" pitchFamily="34" charset="0"/>
              </a:rPr>
              <a:t>)</a:t>
            </a:r>
            <a:r>
              <a:rPr lang="en-US" sz="2800" dirty="0" smtClean="0">
                <a:solidFill>
                  <a:srgbClr val="C00000"/>
                </a:solidFill>
                <a:ea typeface="+mj-ea"/>
                <a:cs typeface="Calibri" pitchFamily="34" charset="0"/>
              </a:rPr>
              <a:t> </a:t>
            </a:r>
            <a:endParaRPr lang="en-US" sz="2800" dirty="0">
              <a:solidFill>
                <a:srgbClr val="C00000"/>
              </a:solidFill>
              <a:ea typeface="+mj-ea"/>
              <a:cs typeface="Calibri" pitchFamily="34" charset="0"/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944451" y="925563"/>
            <a:ext cx="10304450" cy="1079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4613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1071093" y="296595"/>
            <a:ext cx="10749566" cy="639762"/>
          </a:xfrm>
        </p:spPr>
        <p:txBody>
          <a:bodyPr/>
          <a:lstStyle/>
          <a:p>
            <a:r>
              <a:rPr lang="en-US" sz="2800" dirty="0" smtClean="0">
                <a:solidFill>
                  <a:srgbClr val="C00000"/>
                </a:solidFill>
                <a:ea typeface="+mj-ea"/>
                <a:cs typeface="Calibri" pitchFamily="34" charset="0"/>
              </a:rPr>
              <a:t>     Introduction </a:t>
            </a:r>
            <a:r>
              <a:rPr lang="en-US" sz="2800" dirty="0">
                <a:solidFill>
                  <a:srgbClr val="C00000"/>
                </a:solidFill>
                <a:cs typeface="Calibri" pitchFamily="34" charset="0"/>
              </a:rPr>
              <a:t>– </a:t>
            </a:r>
            <a:r>
              <a:rPr lang="en-US" sz="2800" dirty="0" smtClean="0">
                <a:solidFill>
                  <a:srgbClr val="C00000"/>
                </a:solidFill>
                <a:cs typeface="Calibri" pitchFamily="34" charset="0"/>
              </a:rPr>
              <a:t>(3/5</a:t>
            </a:r>
            <a:r>
              <a:rPr lang="en-US" sz="2800" dirty="0">
                <a:solidFill>
                  <a:srgbClr val="C00000"/>
                </a:solidFill>
                <a:cs typeface="Calibri" pitchFamily="34" charset="0"/>
              </a:rPr>
              <a:t>) </a:t>
            </a:r>
            <a:endParaRPr lang="en-US" sz="2800" dirty="0">
              <a:solidFill>
                <a:srgbClr val="C00000"/>
              </a:solidFill>
              <a:ea typeface="+mj-ea"/>
              <a:cs typeface="Calibri" pitchFamily="34" charset="0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944451" y="936357"/>
            <a:ext cx="10304450" cy="1079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294" t="1474" r="2299"/>
          <a:stretch/>
        </p:blipFill>
        <p:spPr>
          <a:xfrm>
            <a:off x="1195754" y="3038622"/>
            <a:ext cx="9284677" cy="3078952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4363209" y="5748242"/>
            <a:ext cx="26402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1" u="none" strike="noStrike" baseline="0" dirty="0" smtClean="0">
                <a:solidFill>
                  <a:srgbClr val="000000"/>
                </a:solidFill>
                <a:latin typeface="Calibri" panose="020F0502020204030204" pitchFamily="34" charset="0"/>
              </a:rPr>
              <a:t>Evolved Packet Core (EPC) </a:t>
            </a:r>
            <a:endParaRPr lang="en-US" dirty="0"/>
          </a:p>
        </p:txBody>
      </p:sp>
      <p:sp>
        <p:nvSpPr>
          <p:cNvPr id="3" name="Round Diagonal Corner Rectangle 2"/>
          <p:cNvSpPr/>
          <p:nvPr/>
        </p:nvSpPr>
        <p:spPr>
          <a:xfrm>
            <a:off x="1185333" y="1308295"/>
            <a:ext cx="9302045" cy="1434905"/>
          </a:xfrm>
          <a:prstGeom prst="round2Diag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The huge demand of data </a:t>
            </a:r>
            <a:r>
              <a:rPr lang="en-US" dirty="0" smtClean="0"/>
              <a:t>traffic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smtClean="0">
                <a:sym typeface="Wingdings" panose="05000000000000000000" pitchFamily="2" charset="2"/>
              </a:rPr>
              <a:t></a:t>
            </a:r>
            <a:r>
              <a:rPr lang="en-US" dirty="0" smtClean="0"/>
              <a:t> </a:t>
            </a:r>
            <a:r>
              <a:rPr lang="en-US" dirty="0"/>
              <a:t>handled in the mobile operators using the Evolved Packet core network (EPC) </a:t>
            </a:r>
          </a:p>
        </p:txBody>
      </p:sp>
    </p:spTree>
    <p:extLst>
      <p:ext uri="{BB962C8B-B14F-4D97-AF65-F5344CB8AC3E}">
        <p14:creationId xmlns:p14="http://schemas.microsoft.com/office/powerpoint/2010/main" val="3158014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1071093" y="296595"/>
            <a:ext cx="10749566" cy="639762"/>
          </a:xfrm>
        </p:spPr>
        <p:txBody>
          <a:bodyPr/>
          <a:lstStyle/>
          <a:p>
            <a:r>
              <a:rPr lang="en-US" sz="2800" dirty="0" smtClean="0">
                <a:solidFill>
                  <a:srgbClr val="C00000"/>
                </a:solidFill>
                <a:ea typeface="+mj-ea"/>
                <a:cs typeface="Calibri" pitchFamily="34" charset="0"/>
              </a:rPr>
              <a:t>     Introduction </a:t>
            </a:r>
            <a:r>
              <a:rPr lang="en-US" sz="2800" dirty="0">
                <a:solidFill>
                  <a:srgbClr val="C00000"/>
                </a:solidFill>
                <a:cs typeface="Calibri" pitchFamily="34" charset="0"/>
              </a:rPr>
              <a:t>– </a:t>
            </a:r>
            <a:r>
              <a:rPr lang="en-US" sz="2800" dirty="0" smtClean="0">
                <a:solidFill>
                  <a:srgbClr val="C00000"/>
                </a:solidFill>
                <a:cs typeface="Calibri" pitchFamily="34" charset="0"/>
              </a:rPr>
              <a:t>(4/5</a:t>
            </a:r>
            <a:r>
              <a:rPr lang="en-US" sz="2800" dirty="0">
                <a:solidFill>
                  <a:srgbClr val="C00000"/>
                </a:solidFill>
                <a:cs typeface="Calibri" pitchFamily="34" charset="0"/>
              </a:rPr>
              <a:t>) </a:t>
            </a:r>
            <a:endParaRPr lang="en-US" sz="2800" dirty="0">
              <a:solidFill>
                <a:srgbClr val="C00000"/>
              </a:solidFill>
              <a:ea typeface="+mj-ea"/>
              <a:cs typeface="Calibri" pitchFamily="34" charset="0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944451" y="936357"/>
            <a:ext cx="10304450" cy="1079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" name="Rounded Rectangle 1"/>
          <p:cNvSpPr/>
          <p:nvPr/>
        </p:nvSpPr>
        <p:spPr>
          <a:xfrm>
            <a:off x="874142" y="998805"/>
            <a:ext cx="5695467" cy="5774787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q"/>
            </a:pPr>
            <a:r>
              <a:rPr lang="en-US" dirty="0" smtClean="0"/>
              <a:t>Increasing Gap Between Capacity And Demand Is A Significant Sign For Deploying New Approaches And New Network Architects To Enable Mobile Operators To Handle More Traffic With Less Cost 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q"/>
            </a:pPr>
            <a:r>
              <a:rPr lang="en-US" dirty="0" smtClean="0"/>
              <a:t>The Network Functions Virtualization (NFV) Raised As A New Technology Provides An Efficient Solution That Can Enhance The Flexibility 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69608" y="998805"/>
            <a:ext cx="5500472" cy="5774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189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1071093" y="296595"/>
            <a:ext cx="10749566" cy="639762"/>
          </a:xfrm>
        </p:spPr>
        <p:txBody>
          <a:bodyPr/>
          <a:lstStyle/>
          <a:p>
            <a:r>
              <a:rPr lang="en-US" sz="2800" dirty="0" smtClean="0">
                <a:solidFill>
                  <a:srgbClr val="C00000"/>
                </a:solidFill>
                <a:ea typeface="+mj-ea"/>
                <a:cs typeface="Calibri" pitchFamily="34" charset="0"/>
              </a:rPr>
              <a:t>     Introduction </a:t>
            </a:r>
            <a:r>
              <a:rPr lang="en-US" sz="2800" dirty="0">
                <a:solidFill>
                  <a:srgbClr val="C00000"/>
                </a:solidFill>
                <a:cs typeface="Calibri" pitchFamily="34" charset="0"/>
              </a:rPr>
              <a:t>– </a:t>
            </a:r>
            <a:r>
              <a:rPr lang="en-US" sz="2800" dirty="0" smtClean="0">
                <a:solidFill>
                  <a:srgbClr val="C00000"/>
                </a:solidFill>
                <a:cs typeface="Calibri" pitchFamily="34" charset="0"/>
              </a:rPr>
              <a:t>(5/5</a:t>
            </a:r>
            <a:r>
              <a:rPr lang="en-US" sz="2800" dirty="0">
                <a:solidFill>
                  <a:srgbClr val="C00000"/>
                </a:solidFill>
                <a:cs typeface="Calibri" pitchFamily="34" charset="0"/>
              </a:rPr>
              <a:t>) </a:t>
            </a:r>
            <a:endParaRPr lang="en-US" sz="2800" dirty="0">
              <a:solidFill>
                <a:srgbClr val="C00000"/>
              </a:solidFill>
              <a:ea typeface="+mj-ea"/>
              <a:cs typeface="Calibri" pitchFamily="34" charset="0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944451" y="936357"/>
            <a:ext cx="10304450" cy="1079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5122" name="Picture 2" descr="image0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451" y="1791360"/>
            <a:ext cx="10552208" cy="3061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11578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1071093" y="296595"/>
            <a:ext cx="10749566" cy="639762"/>
          </a:xfrm>
        </p:spPr>
        <p:txBody>
          <a:bodyPr/>
          <a:lstStyle/>
          <a:p>
            <a:r>
              <a:rPr lang="en-US" sz="2800" dirty="0" smtClean="0">
                <a:solidFill>
                  <a:srgbClr val="C00000"/>
                </a:solidFill>
                <a:ea typeface="+mj-ea"/>
                <a:cs typeface="Calibri" pitchFamily="34" charset="0"/>
              </a:rPr>
              <a:t>     Literature </a:t>
            </a:r>
            <a:r>
              <a:rPr lang="en-US" sz="2800" dirty="0" smtClean="0">
                <a:solidFill>
                  <a:srgbClr val="C00000"/>
                </a:solidFill>
                <a:ea typeface="+mj-ea"/>
                <a:cs typeface="Calibri" pitchFamily="34" charset="0"/>
              </a:rPr>
              <a:t>Review </a:t>
            </a:r>
            <a:r>
              <a:rPr lang="en-US" sz="2800" dirty="0">
                <a:solidFill>
                  <a:srgbClr val="C00000"/>
                </a:solidFill>
                <a:cs typeface="Calibri" pitchFamily="34" charset="0"/>
              </a:rPr>
              <a:t>– </a:t>
            </a:r>
            <a:r>
              <a:rPr lang="en-US" sz="2800" dirty="0" smtClean="0">
                <a:solidFill>
                  <a:srgbClr val="C00000"/>
                </a:solidFill>
                <a:cs typeface="Calibri" pitchFamily="34" charset="0"/>
              </a:rPr>
              <a:t>(1/2) </a:t>
            </a:r>
            <a:endParaRPr lang="en-US" sz="2800" dirty="0">
              <a:solidFill>
                <a:srgbClr val="C00000"/>
              </a:solidFill>
              <a:ea typeface="+mj-ea"/>
              <a:cs typeface="Calibri" pitchFamily="34" charset="0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944451" y="936357"/>
            <a:ext cx="10304450" cy="1079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6147" name="Picture 1" descr="نتيجة بحث الصور عن ‪internet of things examples‬‏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4" b="3069"/>
          <a:stretch/>
        </p:blipFill>
        <p:spPr bwMode="auto">
          <a:xfrm>
            <a:off x="415676" y="1224254"/>
            <a:ext cx="11596894" cy="54082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0" descr="نتيجة بحث الصور عن ‪internet of things‬‏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9568" y="2954215"/>
            <a:ext cx="3121774" cy="1948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316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1071093" y="296595"/>
            <a:ext cx="10749566" cy="639762"/>
          </a:xfrm>
        </p:spPr>
        <p:txBody>
          <a:bodyPr/>
          <a:lstStyle/>
          <a:p>
            <a:r>
              <a:rPr lang="en-US" sz="2800" dirty="0" smtClean="0">
                <a:solidFill>
                  <a:srgbClr val="C00000"/>
                </a:solidFill>
                <a:ea typeface="+mj-ea"/>
                <a:cs typeface="Calibri" pitchFamily="34" charset="0"/>
              </a:rPr>
              <a:t>     Literature Review </a:t>
            </a:r>
            <a:r>
              <a:rPr lang="en-US" sz="2800" dirty="0">
                <a:solidFill>
                  <a:srgbClr val="C00000"/>
                </a:solidFill>
                <a:cs typeface="Calibri" pitchFamily="34" charset="0"/>
              </a:rPr>
              <a:t>– </a:t>
            </a:r>
            <a:r>
              <a:rPr lang="en-US" sz="2800" dirty="0" smtClean="0">
                <a:solidFill>
                  <a:srgbClr val="C00000"/>
                </a:solidFill>
                <a:cs typeface="Calibri" pitchFamily="34" charset="0"/>
              </a:rPr>
              <a:t>(2/2) </a:t>
            </a:r>
            <a:endParaRPr lang="en-US" sz="2800" dirty="0">
              <a:solidFill>
                <a:srgbClr val="C00000"/>
              </a:solidFill>
              <a:ea typeface="+mj-ea"/>
              <a:cs typeface="Calibri" pitchFamily="34" charset="0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944451" y="936357"/>
            <a:ext cx="10304450" cy="1079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5122" name="Picture 1" descr="image0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3651" y="1042108"/>
            <a:ext cx="10540413" cy="57523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68792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isp">
  <a:themeElements>
    <a:clrScheme name="Wisp">
      <a:dk1>
        <a:sysClr val="windowText" lastClr="000000"/>
      </a:dk1>
      <a:lt1>
        <a:sysClr val="window" lastClr="FFFFFF"/>
      </a:lt1>
      <a:dk2>
        <a:srgbClr val="766F54"/>
      </a:dk2>
      <a:lt2>
        <a:srgbClr val="E3EACF"/>
      </a:lt2>
      <a:accent1>
        <a:srgbClr val="A53010"/>
      </a:accent1>
      <a:accent2>
        <a:srgbClr val="DE7E18"/>
      </a:accent2>
      <a:accent3>
        <a:srgbClr val="9F8351"/>
      </a:accent3>
      <a:accent4>
        <a:srgbClr val="728653"/>
      </a:accent4>
      <a:accent5>
        <a:srgbClr val="92AA4C"/>
      </a:accent5>
      <a:accent6>
        <a:srgbClr val="6AAC91"/>
      </a:accent6>
      <a:hlink>
        <a:srgbClr val="FB4A18"/>
      </a:hlink>
      <a:folHlink>
        <a:srgbClr val="FB9318"/>
      </a:folHlink>
    </a:clrScheme>
    <a:fontScheme name="Wisp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24B1A44C-C006-48B2-A4D7-E5549B3D8CD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>
  <documentManagement>
    <_dlc_DocId xmlns="57a627d2-1b40-4ca0-aa69-e7b92e920d79">JVH7V3AN4YY6-96-114</_dlc_DocId>
    <_dlc_DocIdUrl xmlns="57a627d2-1b40-4ca0-aa69-e7b92e920d79">
      <Url>http://beitna/OurFiles/_layouts/15/DocIdRedir.aspx?ID=JVH7V3AN4YY6-96-114</Url>
      <Description>JVH7V3AN4YY6-96-114</Description>
    </_dlc_DocIdUrl>
    <LikesCount xmlns="http://schemas.microsoft.com/sharepoint/v3" xsi:nil="true"/>
    <Ratings xmlns="http://schemas.microsoft.com/sharepoint/v3" xsi:nil="true"/>
    <LikedBy xmlns="http://schemas.microsoft.com/sharepoint/v3">
      <UserInfo>
        <DisplayName/>
        <AccountId xsi:nil="true"/>
        <AccountType/>
      </UserInfo>
    </LikedBy>
    <RatedBy xmlns="http://schemas.microsoft.com/sharepoint/v3">
      <UserInfo>
        <DisplayName/>
        <AccountId xsi:nil="true"/>
        <AccountType/>
      </UserInfo>
    </RatedBy>
  </documentManagement>
</p:properti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2F50010E90FBE44A86572449E8ED93B" ma:contentTypeVersion="8" ma:contentTypeDescription="Create a new document." ma:contentTypeScope="" ma:versionID="208dfb50d24d913f68263c06813b57e0">
  <xsd:schema xmlns:xsd="http://www.w3.org/2001/XMLSchema" xmlns:xs="http://www.w3.org/2001/XMLSchema" xmlns:p="http://schemas.microsoft.com/office/2006/metadata/properties" xmlns:ns1="http://schemas.microsoft.com/sharepoint/v3" xmlns:ns2="57a627d2-1b40-4ca0-aa69-e7b92e920d79" targetNamespace="http://schemas.microsoft.com/office/2006/metadata/properties" ma:root="true" ma:fieldsID="bf88b4d27b5987e18d3159e34f651292" ns1:_="" ns2:_="">
    <xsd:import namespace="http://schemas.microsoft.com/sharepoint/v3"/>
    <xsd:import namespace="57a627d2-1b40-4ca0-aa69-e7b92e920d79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1:AverageRating" minOccurs="0"/>
                <xsd:element ref="ns1:RatingCount" minOccurs="0"/>
                <xsd:element ref="ns1:RatedBy" minOccurs="0"/>
                <xsd:element ref="ns1:Ratings" minOccurs="0"/>
                <xsd:element ref="ns1:LikesCount" minOccurs="0"/>
                <xsd:element ref="ns1:LikedB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11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12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RatedBy" ma:index="13" nillable="true" ma:displayName="Rated By" ma:description="Users rated the item." ma:hidden="true" ma:list="UserInfo" ma:internalName="RatedBy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Ratings" ma:index="14" nillable="true" ma:displayName="User ratings" ma:description="User ratings for the item" ma:hidden="true" ma:internalName="Ratings">
      <xsd:simpleType>
        <xsd:restriction base="dms:Note"/>
      </xsd:simpleType>
    </xsd:element>
    <xsd:element name="LikesCount" ma:index="15" nillable="true" ma:displayName="Number of Likes" ma:internalName="LikesCount">
      <xsd:simpleType>
        <xsd:restriction base="dms:Unknown"/>
      </xsd:simpleType>
    </xsd:element>
    <xsd:element name="LikedBy" ma:index="16" nillable="true" ma:displayName="Liked By" ma:hidden="true" ma:list="UserInfo" ma:internalName="LikedBy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7a627d2-1b40-4ca0-aa69-e7b92e920d79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78CD817-C03B-4AA3-AB6A-DD4CC78C41E4}">
  <ds:schemaRefs>
    <ds:schemaRef ds:uri="http://www.w3.org/XML/1998/namespace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schemas.microsoft.com/sharepoint/v3"/>
    <ds:schemaRef ds:uri="http://purl.org/dc/terms/"/>
    <ds:schemaRef ds:uri="57a627d2-1b40-4ca0-aa69-e7b92e920d79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E1725BCC-98D0-4A49-9B17-F9C343DF08AE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525AF383-44B4-4692-9ABE-612ED45291A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57a627d2-1b40-4ca0-aa69-e7b92e920d7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A5B44E20-95B0-4303-BB07-EEC330474EB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4699</TotalTime>
  <Words>500</Words>
  <Application>Microsoft Office PowerPoint</Application>
  <PresentationFormat>Widescreen</PresentationFormat>
  <Paragraphs>66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4" baseType="lpstr">
      <vt:lpstr>Arial</vt:lpstr>
      <vt:lpstr>Calibri</vt:lpstr>
      <vt:lpstr>Century Gothic</vt:lpstr>
      <vt:lpstr>Gabriola</vt:lpstr>
      <vt:lpstr>Times New Roman</vt:lpstr>
      <vt:lpstr>Wingdings</vt:lpstr>
      <vt:lpstr>Wingdings 3</vt:lpstr>
      <vt:lpstr>Wisp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>Haitham.AbuShaaban@wataniya.ps</Manager>
  <Company>Wataniya Mobil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Gaza Program Status Report</dc:subject>
  <dc:creator>Naim.Alhousani@wataniya.ps</dc:creator>
  <cp:lastModifiedBy>Khawla Daraghmeh</cp:lastModifiedBy>
  <cp:revision>1137</cp:revision>
  <dcterms:created xsi:type="dcterms:W3CDTF">2013-07-09T11:15:26Z</dcterms:created>
  <dcterms:modified xsi:type="dcterms:W3CDTF">2017-05-30T09:19:01Z</dcterms:modified>
  <cp:category>Gaza Program</cp:category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2F50010E90FBE44A86572449E8ED93B</vt:lpwstr>
  </property>
  <property fmtid="{D5CDD505-2E9C-101B-9397-08002B2CF9AE}" pid="3" name="_dlc_DocIdItemGuid">
    <vt:lpwstr>e48c5a7c-25d2-4bc2-aea6-3023093372b1</vt:lpwstr>
  </property>
</Properties>
</file>